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1" r:id="rId1"/>
  </p:sldMasterIdLst>
  <p:notesMasterIdLst>
    <p:notesMasterId r:id="rId7"/>
  </p:notesMasterIdLst>
  <p:sldIdLst>
    <p:sldId id="258" r:id="rId2"/>
    <p:sldId id="263" r:id="rId3"/>
    <p:sldId id="264" r:id="rId4"/>
    <p:sldId id="265" r:id="rId5"/>
    <p:sldId id="268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ітлий стиль 1 –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1CCC42-73CE-4C6F-B18D-5FCC86972E09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B7446F-10B2-4035-9BA8-66DC53915883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45868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522E73-4005-4F58-B13A-C5A5A5C64DF9}" type="slidenum">
              <a:rPr lang="uk-UA" altLang="ru-RU"/>
              <a:pPr>
                <a:defRPr/>
              </a:pPr>
              <a:t>2</a:t>
            </a:fld>
            <a:endParaRPr lang="uk-UA" altLang="ru-RU"/>
          </a:p>
        </p:txBody>
      </p:sp>
    </p:spTree>
    <p:extLst>
      <p:ext uri="{BB962C8B-B14F-4D97-AF65-F5344CB8AC3E}">
        <p14:creationId xmlns:p14="http://schemas.microsoft.com/office/powerpoint/2010/main" val="2144173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522E73-4005-4F58-B13A-C5A5A5C64DF9}" type="slidenum">
              <a:rPr lang="uk-UA" altLang="ru-RU"/>
              <a:pPr>
                <a:defRPr/>
              </a:pPr>
              <a:t>3</a:t>
            </a:fld>
            <a:endParaRPr lang="uk-UA" altLang="ru-RU"/>
          </a:p>
        </p:txBody>
      </p:sp>
    </p:spTree>
    <p:extLst>
      <p:ext uri="{BB962C8B-B14F-4D97-AF65-F5344CB8AC3E}">
        <p14:creationId xmlns:p14="http://schemas.microsoft.com/office/powerpoint/2010/main" val="1008584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522E73-4005-4F58-B13A-C5A5A5C64DF9}" type="slidenum">
              <a:rPr lang="uk-UA" altLang="ru-RU"/>
              <a:pPr>
                <a:defRPr/>
              </a:pPr>
              <a:t>4</a:t>
            </a:fld>
            <a:endParaRPr lang="uk-UA" altLang="ru-RU"/>
          </a:p>
        </p:txBody>
      </p:sp>
    </p:spTree>
    <p:extLst>
      <p:ext uri="{BB962C8B-B14F-4D97-AF65-F5344CB8AC3E}">
        <p14:creationId xmlns:p14="http://schemas.microsoft.com/office/powerpoint/2010/main" val="1335798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 smtClean="0"/>
              <a:t>Клацніть, щоб редагувати стиль зразка пі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65624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 фотографі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uk-UA" smtClean="0"/>
              <a:t>Клацніть піктограму, щоб додати зображенн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78281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зва та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73958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0368478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ка назв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371699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38887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 з малю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uk-UA" smtClean="0"/>
              <a:t>Клацніть піктограму, щоб додати зображення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uk-UA" smtClean="0"/>
              <a:t>Клацніть піктограму, щоб додати зображення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uk-UA" smtClean="0"/>
              <a:t>Клацніть піктограму, щоб додати зображення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12837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09469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35618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і об’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52087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21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26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634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uk-UA" sz="1854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uk-UA" dirty="0" err="1" smtClean="0"/>
              <a:t>Click</a:t>
            </a:r>
            <a:r>
              <a:rPr lang="uk-UA" dirty="0" smtClean="0"/>
              <a:t> </a:t>
            </a:r>
            <a:r>
              <a:rPr lang="uk-UA" dirty="0" err="1" smtClean="0"/>
              <a:t>to</a:t>
            </a:r>
            <a:r>
              <a:rPr lang="uk-UA" dirty="0" smtClean="0"/>
              <a:t> </a:t>
            </a:r>
            <a:r>
              <a:rPr lang="uk-UA" dirty="0" err="1" smtClean="0"/>
              <a:t>edit</a:t>
            </a:r>
            <a:r>
              <a:rPr lang="uk-UA" dirty="0" smtClean="0"/>
              <a:t> </a:t>
            </a:r>
            <a:r>
              <a:rPr lang="uk-UA" dirty="0" err="1" smtClean="0"/>
              <a:t>Master</a:t>
            </a:r>
            <a:r>
              <a:rPr lang="uk-UA" dirty="0" smtClean="0"/>
              <a:t> </a:t>
            </a:r>
            <a:r>
              <a:rPr lang="uk-UA" dirty="0" err="1" smtClean="0"/>
              <a:t>title</a:t>
            </a:r>
            <a:r>
              <a:rPr lang="uk-UA" dirty="0" smtClean="0"/>
              <a:t> </a:t>
            </a:r>
            <a:r>
              <a:rPr lang="uk-UA" dirty="0" err="1" smtClean="0"/>
              <a:t>style</a:t>
            </a:r>
            <a:endParaRPr lang="uk-UA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5"/>
            <a:ext cx="1231563" cy="74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r" defTabSz="940734"/>
            <a:endParaRPr lang="uk-UA" sz="473" dirty="0">
              <a:solidFill>
                <a:srgbClr val="808080"/>
              </a:solidFill>
              <a:latin typeface="Arial"/>
            </a:endParaRP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0" y="740833"/>
            <a:ext cx="121920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70150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15">
          <p15:clr>
            <a:srgbClr val="F26B43"/>
          </p15:clr>
        </p15:guide>
        <p15:guide id="2" pos="45">
          <p15:clr>
            <a:srgbClr val="F26B43"/>
          </p15:clr>
        </p15:guide>
        <p15:guide id="3" orient="horz" pos="453">
          <p15:clr>
            <a:srgbClr val="F26B43"/>
          </p15:clr>
        </p15:guide>
        <p15:guide id="4" orient="horz" pos="400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’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81291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590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78451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35631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41332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8689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38640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uk-UA" smtClean="0"/>
              <a:t>Клацніть піктограму, щоб додати зображенн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 smtClean="0"/>
              <a:t>Редагувати стиль зразка тексту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36138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1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Редагувати стиль зразка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’ятий рі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6EDEE16-FF19-4137-8CDE-3328B1B33FAE}" type="datetimeFigureOut">
              <a:rPr lang="uk-UA" smtClean="0"/>
              <a:t>02.04.2022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0B2918C-A431-475E-9548-F8BD28D878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2579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я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95511"/>
              </p:ext>
            </p:extLst>
          </p:nvPr>
        </p:nvGraphicFramePr>
        <p:xfrm>
          <a:off x="558198" y="960446"/>
          <a:ext cx="11194472" cy="53370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39857">
                  <a:extLst>
                    <a:ext uri="{9D8B030D-6E8A-4147-A177-3AD203B41FA5}">
                      <a16:colId xmlns:a16="http://schemas.microsoft.com/office/drawing/2014/main" val="320870623"/>
                    </a:ext>
                  </a:extLst>
                </a:gridCol>
                <a:gridCol w="8454615">
                  <a:extLst>
                    <a:ext uri="{9D8B030D-6E8A-4147-A177-3AD203B41FA5}">
                      <a16:colId xmlns:a16="http://schemas.microsoft.com/office/drawing/2014/main" val="2627453498"/>
                    </a:ext>
                  </a:extLst>
                </a:gridCol>
              </a:tblGrid>
              <a:tr h="5975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гмен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ікро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алий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редній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бізнес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із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ічною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иручкою</a:t>
                      </a:r>
                      <a:r>
                        <a:rPr lang="ru-RU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до </a:t>
                      </a:r>
                      <a:r>
                        <a:rPr lang="ru-RU" sz="2000" b="0" kern="1200" dirty="0" smtClean="0">
                          <a:solidFill>
                            <a:srgbClr val="6633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</a:t>
                      </a:r>
                      <a:r>
                        <a:rPr lang="ru-RU" sz="2000" b="0" kern="1200" dirty="0" err="1" smtClean="0">
                          <a:solidFill>
                            <a:srgbClr val="6633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лрд.грн</a:t>
                      </a:r>
                      <a:r>
                        <a:rPr lang="ru-RU" sz="2000" b="0" kern="1200" dirty="0" smtClean="0">
                          <a:solidFill>
                            <a:srgbClr val="6633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. </a:t>
                      </a: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арно з групою пов’язаних контрагентів (ГПК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80830"/>
                  </a:ext>
                </a:extLst>
              </a:tr>
              <a:tr h="515495"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а фінанс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20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інімум </a:t>
                      </a:r>
                      <a:r>
                        <a:rPr lang="uk-UA" sz="2000" b="0" kern="1200" dirty="0" smtClean="0">
                          <a:solidFill>
                            <a:srgbClr val="6633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50</a:t>
                      </a:r>
                      <a:r>
                        <a:rPr lang="uk-UA" sz="20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тис. грн., максимум </a:t>
                      </a:r>
                      <a:r>
                        <a:rPr lang="uk-UA" sz="2000" b="0" kern="1200" dirty="0" smtClean="0">
                          <a:solidFill>
                            <a:srgbClr val="6633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0</a:t>
                      </a:r>
                      <a:r>
                        <a:rPr lang="uk-UA" sz="20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млн. гр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8916943"/>
                  </a:ext>
                </a:extLst>
              </a:tr>
              <a:tr h="843607"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Цільове призначенн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32979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uk-UA" sz="1600" b="0" kern="1200" noProof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Segoe UI" panose="020B0502040204020203" pitchFamily="34" charset="0"/>
                        </a:rPr>
                        <a:t>Кредит на поповнення обігових коштів;</a:t>
                      </a:r>
                    </a:p>
                    <a:p>
                      <a:pPr marL="285750" marR="0" lvl="0" indent="-285750" algn="l" defTabSz="932979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uk-UA" sz="1600" b="0" kern="1200" noProof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Segoe UI" panose="020B0502040204020203" pitchFamily="34" charset="0"/>
                        </a:rPr>
                        <a:t>Придбання основних засобів за партнерськими програмами с\г напряму</a:t>
                      </a:r>
                      <a:r>
                        <a:rPr lang="en-US" sz="1600" b="0" kern="1200" noProof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Segoe UI" panose="020B0502040204020203" pitchFamily="34" charset="0"/>
                        </a:rPr>
                        <a:t>/</a:t>
                      </a:r>
                      <a:endParaRPr lang="uk-UA" sz="1600" b="0" kern="1200" noProof="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  <a:sym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7930954"/>
                  </a:ext>
                </a:extLst>
              </a:tr>
              <a:tr h="23199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егіони для реалізації програми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ид діяльності клієнтів </a:t>
                      </a:r>
                      <a:r>
                        <a:rPr lang="uk-UA" sz="1600" b="0" u="sng" kern="1200" dirty="0" smtClean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Жовтої зони </a:t>
                      </a: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– без обмеження.</a:t>
                      </a:r>
                    </a:p>
                    <a:p>
                      <a:endParaRPr lang="uk-UA" sz="1600" b="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сновним видом діяльності Клієнтів </a:t>
                      </a:r>
                      <a:r>
                        <a:rPr lang="uk-UA" sz="1600" b="0" u="sng" kern="1200" dirty="0" smtClean="0">
                          <a:solidFill>
                            <a:srgbClr val="FFC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маранчевої</a:t>
                      </a:r>
                      <a:r>
                        <a:rPr lang="uk-UA" sz="1600" b="0" u="sng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і </a:t>
                      </a:r>
                      <a:r>
                        <a:rPr lang="uk-UA" sz="1600" b="0" u="sng" kern="1200" dirty="0" smtClean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Червоної</a:t>
                      </a:r>
                      <a:r>
                        <a:rPr lang="uk-UA" sz="1600" b="0" u="sng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он</a:t>
                      </a:r>
                      <a:r>
                        <a:rPr lang="uk-UA" sz="1600" b="0" u="non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uk-UA" sz="1600" b="0" u="none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є: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ільське господарство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иробництво і торгівля продуктами харчування, побутової хімії і засобами гігієни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иробництво, торгівля і зберігання паливно-мастильних матеріалів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иробництво і торгівля супутніми товарами до вище зазначених галузей (наприклад: посівний матеріал, засоби захисту росли, запчастини до с/г техніки, тощо)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Логістика і транспортування продукції і товарів вище зазначених галузей</a:t>
                      </a:r>
                    </a:p>
                    <a:p>
                      <a:pPr marL="171450" lvl="0" indent="-1714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uk-UA" sz="1600" b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Інші види діяльності, що забезпечуватимуть гуманітарні потреб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0547995"/>
                  </a:ext>
                </a:extLst>
              </a:tr>
            </a:tbl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897634" y="1371"/>
            <a:ext cx="10515600" cy="959075"/>
          </a:xfr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uk-UA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Поєднання програми «Доступні кредити 5-7-9%» </a:t>
            </a:r>
            <a:r>
              <a:rPr lang="uk-UA" sz="2300" b="1" dirty="0" smtClean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/>
            </a:r>
            <a:br>
              <a:rPr lang="uk-UA" sz="2300" b="1" dirty="0" smtClean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</a:br>
            <a:r>
              <a:rPr lang="uk-UA" sz="2300" b="1" dirty="0" smtClean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з </a:t>
            </a:r>
            <a:r>
              <a:rPr lang="uk-UA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державною гарантією</a:t>
            </a:r>
          </a:p>
        </p:txBody>
      </p:sp>
    </p:spTree>
    <p:extLst>
      <p:ext uri="{BB962C8B-B14F-4D97-AF65-F5344CB8AC3E}">
        <p14:creationId xmlns:p14="http://schemas.microsoft.com/office/powerpoint/2010/main" val="2255879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083050" y="298613"/>
            <a:ext cx="723293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БП «КРЕДИТУВАННЯ ММСБ ЗА ПРОГРАМОЮ </a:t>
            </a:r>
            <a:endParaRPr lang="en-US" sz="1800" b="1" dirty="0">
              <a:solidFill>
                <a:schemeClr val="bg1"/>
              </a:solidFill>
              <a:sym typeface="Helvetica Light"/>
            </a:endParaRPr>
          </a:p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«ДОСТУПНІ КРЕДИТИ 5-7-9%»</a:t>
            </a:r>
            <a:endParaRPr lang="uk-UA" sz="1800" b="1" dirty="0">
              <a:solidFill>
                <a:schemeClr val="bg1"/>
              </a:solidFill>
              <a:latin typeface="Trebuchet MS" panose="020B0603020202020204" pitchFamily="34" charset="0"/>
              <a:ea typeface="Helvetica Light"/>
              <a:cs typeface="Helvetica Light"/>
            </a:endParaRPr>
          </a:p>
        </p:txBody>
      </p:sp>
      <p:graphicFrame>
        <p:nvGraphicFramePr>
          <p:cNvPr id="36" name="Таблиця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663716"/>
              </p:ext>
            </p:extLst>
          </p:nvPr>
        </p:nvGraphicFramePr>
        <p:xfrm>
          <a:off x="124692" y="964926"/>
          <a:ext cx="11859489" cy="556548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279431">
                  <a:extLst>
                    <a:ext uri="{9D8B030D-6E8A-4147-A177-3AD203B41FA5}">
                      <a16:colId xmlns:a16="http://schemas.microsoft.com/office/drawing/2014/main" val="320870623"/>
                    </a:ext>
                  </a:extLst>
                </a:gridCol>
                <a:gridCol w="2087266">
                  <a:extLst>
                    <a:ext uri="{9D8B030D-6E8A-4147-A177-3AD203B41FA5}">
                      <a16:colId xmlns:a16="http://schemas.microsoft.com/office/drawing/2014/main" val="2627453498"/>
                    </a:ext>
                  </a:extLst>
                </a:gridCol>
                <a:gridCol w="2400356">
                  <a:extLst>
                    <a:ext uri="{9D8B030D-6E8A-4147-A177-3AD203B41FA5}">
                      <a16:colId xmlns:a16="http://schemas.microsoft.com/office/drawing/2014/main" val="3627949064"/>
                    </a:ext>
                  </a:extLst>
                </a:gridCol>
                <a:gridCol w="2546218">
                  <a:extLst>
                    <a:ext uri="{9D8B030D-6E8A-4147-A177-3AD203B41FA5}">
                      <a16:colId xmlns:a16="http://schemas.microsoft.com/office/drawing/2014/main" val="1552899843"/>
                    </a:ext>
                  </a:extLst>
                </a:gridCol>
                <a:gridCol w="2546218">
                  <a:extLst>
                    <a:ext uri="{9D8B030D-6E8A-4147-A177-3AD203B41FA5}">
                      <a16:colId xmlns:a16="http://schemas.microsoft.com/office/drawing/2014/main" val="249595439"/>
                    </a:ext>
                  </a:extLst>
                </a:gridCol>
              </a:tblGrid>
              <a:tr h="698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дук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2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4)</a:t>
                      </a: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 на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повнення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ігових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штів</a:t>
                      </a:r>
                      <a:endParaRPr lang="ru-RU" sz="16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291864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гмен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рид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 та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із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-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ідприємц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щ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цюють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ер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ільськог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подарства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80830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орма</a:t>
                      </a:r>
                      <a:r>
                        <a:rPr lang="uk-UA" sz="1800" b="1" kern="12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идачі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Кредитна лінія,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Строковий кредит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ковий креди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на лінія, строковий креди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на лінія, строковий креди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3699397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а фінанс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250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лн. грн.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279305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рок кредит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b="1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іс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611593"/>
                  </a:ext>
                </a:extLst>
              </a:tr>
              <a:tr h="881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%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ії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рантину +90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нів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ісл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7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ічних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шести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сяців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и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чатку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ування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єнног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часу + 1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с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лі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2,5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леж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К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9430345"/>
                  </a:ext>
                </a:extLst>
              </a:tr>
              <a:tr h="1138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става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і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кс.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0%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безпеченн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8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ржгаранті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ука) - </a:t>
                      </a:r>
                      <a:r>
                        <a:rPr lang="ru-RU" sz="1600" u="sng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5 млн. грн.;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і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80% 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в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.ч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ТВО)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 майн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хоме майн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00%</a:t>
                      </a:r>
                    </a:p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бо </a:t>
                      </a:r>
                    </a:p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ержавна гарантія 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80%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  рухоме майн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4773441"/>
                  </a:ext>
                </a:extLst>
              </a:tr>
            </a:tbl>
          </a:graphicData>
        </a:graphic>
      </p:graphicFrame>
      <p:sp>
        <p:nvSpPr>
          <p:cNvPr id="37" name="Заголовок 1"/>
          <p:cNvSpPr txBox="1">
            <a:spLocks/>
          </p:cNvSpPr>
          <p:nvPr/>
        </p:nvSpPr>
        <p:spPr>
          <a:xfrm>
            <a:off x="897634" y="1371"/>
            <a:ext cx="10515600" cy="9590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uk-UA" sz="2300" b="1" dirty="0" smtClean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КРЕДИТУВАННЯ АПК НА ПОПОВНЕННЯ ОБІГОВИХ КОШТІВ</a:t>
            </a:r>
            <a:endParaRPr lang="uk-UA" sz="2300" b="1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897634" y="1370"/>
            <a:ext cx="10515600" cy="95907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КРЕДИТУВАННЯ АПК НА ПОПОВНЕННЯ ОБІГОВИХ КОШТІВ</a:t>
            </a:r>
          </a:p>
        </p:txBody>
      </p:sp>
    </p:spTree>
    <p:extLst>
      <p:ext uri="{BB962C8B-B14F-4D97-AF65-F5344CB8AC3E}">
        <p14:creationId xmlns:p14="http://schemas.microsoft.com/office/powerpoint/2010/main" val="299781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083050" y="298613"/>
            <a:ext cx="723293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БП «КРЕДИТУВАННЯ ММСБ ЗА ПРОГРАМОЮ </a:t>
            </a:r>
            <a:endParaRPr lang="en-US" sz="1800" b="1" dirty="0">
              <a:solidFill>
                <a:schemeClr val="bg1"/>
              </a:solidFill>
              <a:sym typeface="Helvetica Light"/>
            </a:endParaRPr>
          </a:p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«ДОСТУПНІ КРЕДИТИ 5-7-9%»</a:t>
            </a:r>
            <a:endParaRPr lang="uk-UA" sz="1800" b="1" dirty="0">
              <a:solidFill>
                <a:schemeClr val="bg1"/>
              </a:solidFill>
              <a:latin typeface="Trebuchet MS" panose="020B0603020202020204" pitchFamily="34" charset="0"/>
              <a:ea typeface="Helvetica Light"/>
              <a:cs typeface="Helvetica Light"/>
            </a:endParaRPr>
          </a:p>
        </p:txBody>
      </p:sp>
      <p:graphicFrame>
        <p:nvGraphicFramePr>
          <p:cNvPr id="36" name="Таблиця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82889"/>
              </p:ext>
            </p:extLst>
          </p:nvPr>
        </p:nvGraphicFramePr>
        <p:xfrm>
          <a:off x="149490" y="960445"/>
          <a:ext cx="11803321" cy="52688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92340">
                  <a:extLst>
                    <a:ext uri="{9D8B030D-6E8A-4147-A177-3AD203B41FA5}">
                      <a16:colId xmlns:a16="http://schemas.microsoft.com/office/drawing/2014/main" val="320870623"/>
                    </a:ext>
                  </a:extLst>
                </a:gridCol>
                <a:gridCol w="2205480">
                  <a:extLst>
                    <a:ext uri="{9D8B030D-6E8A-4147-A177-3AD203B41FA5}">
                      <a16:colId xmlns:a16="http://schemas.microsoft.com/office/drawing/2014/main" val="2627453498"/>
                    </a:ext>
                  </a:extLst>
                </a:gridCol>
                <a:gridCol w="2341418">
                  <a:extLst>
                    <a:ext uri="{9D8B030D-6E8A-4147-A177-3AD203B41FA5}">
                      <a16:colId xmlns:a16="http://schemas.microsoft.com/office/drawing/2014/main" val="3656631289"/>
                    </a:ext>
                  </a:extLst>
                </a:gridCol>
                <a:gridCol w="138545">
                  <a:extLst>
                    <a:ext uri="{9D8B030D-6E8A-4147-A177-3AD203B41FA5}">
                      <a16:colId xmlns:a16="http://schemas.microsoft.com/office/drawing/2014/main" val="2524840446"/>
                    </a:ext>
                  </a:extLst>
                </a:gridCol>
                <a:gridCol w="2340511">
                  <a:extLst>
                    <a:ext uri="{9D8B030D-6E8A-4147-A177-3AD203B41FA5}">
                      <a16:colId xmlns:a16="http://schemas.microsoft.com/office/drawing/2014/main" val="594703078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1640543794"/>
                    </a:ext>
                  </a:extLst>
                </a:gridCol>
                <a:gridCol w="2568187">
                  <a:extLst>
                    <a:ext uri="{9D8B030D-6E8A-4147-A177-3AD203B41FA5}">
                      <a16:colId xmlns:a16="http://schemas.microsoft.com/office/drawing/2014/main" val="1265082954"/>
                    </a:ext>
                  </a:extLst>
                </a:gridCol>
              </a:tblGrid>
              <a:tr h="698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дук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4)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5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идбання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транспорту</a:t>
                      </a:r>
                      <a:r>
                        <a:rPr lang="ru-RU" sz="1600" b="1" kern="12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та </a:t>
                      </a:r>
                      <a:r>
                        <a:rPr lang="ru-RU" sz="1600" b="1" kern="1200" baseline="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ладнання</a:t>
                      </a:r>
                      <a:endParaRPr lang="ru-RU" sz="16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291864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гмен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рид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 та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із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-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ідприємц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щ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цюють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ер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ільськог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подарства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80830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орма видачі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НКЛ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Строковий кредит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ковий креди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НКЛ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Строковий кредит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НКЛ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Строковий кредит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3699397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а фінанс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грн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грн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250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лн. грн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279305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рок кредит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іс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611593"/>
                  </a:ext>
                </a:extLst>
              </a:tr>
              <a:tr h="881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%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-7-9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ічних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шести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сяців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и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чатку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ування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єнног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часу + 1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с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л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2,5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леж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К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9430345"/>
                  </a:ext>
                </a:extLst>
              </a:tr>
              <a:tr h="1138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става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яке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пуєтьс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хунок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редиту</a:t>
                      </a:r>
                      <a:endParaRPr lang="ru-RU" sz="1600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’єкт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інансування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йно, яке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пується за рахунок кредиту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’єкт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інансування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4773441"/>
                  </a:ext>
                </a:extLst>
              </a:tr>
            </a:tbl>
          </a:graphicData>
        </a:graphic>
      </p:graphicFrame>
      <p:sp>
        <p:nvSpPr>
          <p:cNvPr id="37" name="Заголовок 1"/>
          <p:cNvSpPr txBox="1">
            <a:spLocks/>
          </p:cNvSpPr>
          <p:nvPr/>
        </p:nvSpPr>
        <p:spPr>
          <a:xfrm>
            <a:off x="897634" y="1371"/>
            <a:ext cx="10515600" cy="9590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uk-UA" sz="2300" b="1" dirty="0" smtClean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КРЕДИТУВАННЯ АПК НА ПРИДБАННЯ ОСНОВНИХ ЗАСОБІВ С/Г</a:t>
            </a:r>
          </a:p>
          <a:p>
            <a:pPr algn="ctr"/>
            <a:r>
              <a:rPr lang="uk-UA" sz="2300" b="1" dirty="0" smtClean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ПРИЗНАЧЕННЯ В РАМКАХ 5-7-9 %</a:t>
            </a:r>
            <a:endParaRPr lang="uk-UA" sz="2300" b="1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897634" y="1370"/>
            <a:ext cx="10515600" cy="95907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КРЕДИТУВАННЯ АПК НА ПРИДБАННЯ ОСНОВНИХ ЗАСОБІВ С/Г</a:t>
            </a:r>
          </a:p>
          <a:p>
            <a:pPr algn="ctr"/>
            <a:r>
              <a:rPr lang="ru-RU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 ПРИЗНАЧЕННЯ В РАМКАХ </a:t>
            </a:r>
            <a:r>
              <a:rPr lang="ru-RU" sz="2300" b="1" dirty="0" smtClean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5-7-9%</a:t>
            </a:r>
            <a:endParaRPr lang="ru-RU" sz="2300" b="1" dirty="0">
              <a:solidFill>
                <a:schemeClr val="bg1"/>
              </a:solidFill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980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083050" y="298613"/>
            <a:ext cx="723293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БП «КРЕДИТУВАННЯ ММСБ ЗА ПРОГРАМОЮ </a:t>
            </a:r>
            <a:endParaRPr lang="en-US" sz="1800" b="1" dirty="0">
              <a:solidFill>
                <a:schemeClr val="bg1"/>
              </a:solidFill>
              <a:sym typeface="Helvetica Light"/>
            </a:endParaRPr>
          </a:p>
          <a:p>
            <a:r>
              <a:rPr lang="uk-UA" sz="1800" b="1" dirty="0">
                <a:solidFill>
                  <a:schemeClr val="bg1"/>
                </a:solidFill>
                <a:sym typeface="Helvetica Light"/>
              </a:rPr>
              <a:t>«ДОСТУПНІ КРЕДИТИ 5-7-9%»</a:t>
            </a:r>
            <a:endParaRPr lang="uk-UA" sz="1800" b="1" dirty="0">
              <a:solidFill>
                <a:schemeClr val="bg1"/>
              </a:solidFill>
              <a:latin typeface="Trebuchet MS" panose="020B0603020202020204" pitchFamily="34" charset="0"/>
              <a:ea typeface="Helvetica Light"/>
              <a:cs typeface="Helvetica Light"/>
            </a:endParaRPr>
          </a:p>
        </p:txBody>
      </p:sp>
      <p:graphicFrame>
        <p:nvGraphicFramePr>
          <p:cNvPr id="6" name="Таблиця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22259"/>
              </p:ext>
            </p:extLst>
          </p:nvPr>
        </p:nvGraphicFramePr>
        <p:xfrm>
          <a:off x="152400" y="960445"/>
          <a:ext cx="11790218" cy="489590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41168">
                  <a:extLst>
                    <a:ext uri="{9D8B030D-6E8A-4147-A177-3AD203B41FA5}">
                      <a16:colId xmlns:a16="http://schemas.microsoft.com/office/drawing/2014/main" val="320870623"/>
                    </a:ext>
                  </a:extLst>
                </a:gridCol>
                <a:gridCol w="2811487">
                  <a:extLst>
                    <a:ext uri="{9D8B030D-6E8A-4147-A177-3AD203B41FA5}">
                      <a16:colId xmlns:a16="http://schemas.microsoft.com/office/drawing/2014/main" val="2627453498"/>
                    </a:ext>
                  </a:extLst>
                </a:gridCol>
                <a:gridCol w="2963861">
                  <a:extLst>
                    <a:ext uri="{9D8B030D-6E8A-4147-A177-3AD203B41FA5}">
                      <a16:colId xmlns:a16="http://schemas.microsoft.com/office/drawing/2014/main" val="1560241435"/>
                    </a:ext>
                  </a:extLst>
                </a:gridCol>
                <a:gridCol w="3173702">
                  <a:extLst>
                    <a:ext uri="{9D8B030D-6E8A-4147-A177-3AD203B41FA5}">
                      <a16:colId xmlns:a16="http://schemas.microsoft.com/office/drawing/2014/main" val="249595439"/>
                    </a:ext>
                  </a:extLst>
                </a:gridCol>
              </a:tblGrid>
              <a:tr h="698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дук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ступні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и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-7-9% (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прям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 на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повнення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ігових</a:t>
                      </a:r>
                      <a:r>
                        <a:rPr lang="ru-RU" sz="16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штів</a:t>
                      </a:r>
                      <a:endParaRPr lang="ru-RU" sz="16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291864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гмент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рид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 та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ізичн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соби-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ідприємц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для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втої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они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і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лузі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;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вона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а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маранчева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робництво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ізація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тів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рчування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нші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уманітарні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baseline="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ілі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80830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орма</a:t>
                      </a:r>
                      <a:r>
                        <a:rPr lang="uk-UA" sz="1800" b="1" kern="12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идачі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Кредитна лінія,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Segoe UI" panose="020B0502040204020203" pitchFamily="34" charset="0"/>
                        </a:rPr>
                        <a:t>Строковий кредит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на лінія,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ковий креди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на лінія, 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ковий креди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3699397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а фінанс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60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лн. грн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250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лн. грн.</a:t>
                      </a:r>
                      <a:endParaRPr lang="uk-UA" sz="1600" kern="1200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279305"/>
                  </a:ext>
                </a:extLst>
              </a:tr>
              <a:tr h="447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рок кредитування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іс.</a:t>
                      </a:r>
                      <a:endParaRPr lang="uk-UA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36</a:t>
                      </a:r>
                      <a:r>
                        <a:rPr lang="uk-UA" sz="1600" b="1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іс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611593"/>
                  </a:ext>
                </a:extLst>
              </a:tr>
              <a:tr h="881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8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%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ії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рантину +90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нів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ісл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7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ічних</a:t>
                      </a:r>
                      <a:endParaRPr lang="ru-RU" sz="160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гом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єнног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часу + 1</a:t>
                      </a:r>
                      <a:r>
                        <a:rPr lang="ru-RU" sz="160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іс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лі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2,5%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леж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К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9430345"/>
                  </a:ext>
                </a:extLst>
              </a:tr>
              <a:tr h="1138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8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става</a:t>
                      </a:r>
                      <a:endParaRPr lang="uk-UA" sz="18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ія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кс.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50%;</a:t>
                      </a:r>
                    </a:p>
                    <a:p>
                      <a:pPr marL="0" marR="0" lvl="0" indent="0" algn="ctr" defTabSz="10946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хоме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err="1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йно</a:t>
                      </a:r>
                      <a:r>
                        <a:rPr lang="ru-RU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хоме майн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хоме майн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100%;</a:t>
                      </a:r>
                    </a:p>
                    <a:p>
                      <a:pPr algn="ctr"/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ржавна гарантія до </a:t>
                      </a:r>
                      <a:r>
                        <a:rPr lang="uk-UA" sz="16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/>
                          <a:ea typeface="+mn-ea"/>
                          <a:cs typeface="+mn-cs"/>
                        </a:rPr>
                        <a:t>80% </a:t>
                      </a:r>
                      <a:r>
                        <a:rPr lang="uk-UA" sz="16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  рухоме майн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4773441"/>
                  </a:ext>
                </a:extLst>
              </a:tr>
            </a:tbl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897634" y="1370"/>
            <a:ext cx="10515600" cy="95907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КРЕДИТУВАННЯ КЛІЄНТІВ ІНШИХ ГАЛУЗЕЙ НА ПОПОВНЕННЯ </a:t>
            </a:r>
          </a:p>
          <a:p>
            <a:pPr algn="ctr"/>
            <a:r>
              <a:rPr lang="ru-RU" sz="2300" b="1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ОБІГОВИХ КОШТІВ</a:t>
            </a:r>
          </a:p>
        </p:txBody>
      </p:sp>
    </p:spTree>
    <p:extLst>
      <p:ext uri="{BB962C8B-B14F-4D97-AF65-F5344CB8AC3E}">
        <p14:creationId xmlns:p14="http://schemas.microsoft.com/office/powerpoint/2010/main" val="55373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330637" y="106060"/>
            <a:ext cx="6906025" cy="285253"/>
          </a:xfrm>
        </p:spPr>
        <p:txBody>
          <a:bodyPr>
            <a:noAutofit/>
          </a:bodyPr>
          <a:lstStyle/>
          <a:p>
            <a:pPr defTabSz="913542">
              <a:tabLst>
                <a:tab pos="275358" algn="l"/>
              </a:tabLst>
            </a:pPr>
            <a:r>
              <a:rPr lang="uk-UA" sz="1800" b="1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Поточний розподіл по зонах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355" y="517258"/>
            <a:ext cx="9355831" cy="5189347"/>
          </a:xfrm>
          <a:prstGeom prst="rect">
            <a:avLst/>
          </a:prstGeom>
        </p:spPr>
      </p:pic>
      <p:sp>
        <p:nvSpPr>
          <p:cNvPr id="3" name="Полілінія 2">
            <a:hlinkClick r:id="" action="ppaction://noaction" highlightClick="1"/>
            <a:hlinkHover r:id="" action="ppaction://noaction"/>
          </p:cNvPr>
          <p:cNvSpPr/>
          <p:nvPr/>
        </p:nvSpPr>
        <p:spPr>
          <a:xfrm>
            <a:off x="2499157" y="1110221"/>
            <a:ext cx="1159250" cy="909174"/>
          </a:xfrm>
          <a:custGeom>
            <a:avLst/>
            <a:gdLst>
              <a:gd name="connsiteX0" fmla="*/ 1014531 w 1197944"/>
              <a:gd name="connsiteY0" fmla="*/ 47758 h 1173372"/>
              <a:gd name="connsiteX1" fmla="*/ 947856 w 1197944"/>
              <a:gd name="connsiteY1" fmla="*/ 184918 h 1173372"/>
              <a:gd name="connsiteX2" fmla="*/ 978336 w 1197944"/>
              <a:gd name="connsiteY2" fmla="*/ 303028 h 1173372"/>
              <a:gd name="connsiteX3" fmla="*/ 945951 w 1197944"/>
              <a:gd name="connsiteY3" fmla="*/ 430663 h 1173372"/>
              <a:gd name="connsiteX4" fmla="*/ 1085016 w 1197944"/>
              <a:gd name="connsiteY4" fmla="*/ 442093 h 1173372"/>
              <a:gd name="connsiteX5" fmla="*/ 1081206 w 1197944"/>
              <a:gd name="connsiteY5" fmla="*/ 512578 h 1173372"/>
              <a:gd name="connsiteX6" fmla="*/ 1178361 w 1197944"/>
              <a:gd name="connsiteY6" fmla="*/ 602113 h 1173372"/>
              <a:gd name="connsiteX7" fmla="*/ 1123116 w 1197944"/>
              <a:gd name="connsiteY7" fmla="*/ 638308 h 1173372"/>
              <a:gd name="connsiteX8" fmla="*/ 1128831 w 1197944"/>
              <a:gd name="connsiteY8" fmla="*/ 682123 h 1173372"/>
              <a:gd name="connsiteX9" fmla="*/ 1195506 w 1197944"/>
              <a:gd name="connsiteY9" fmla="*/ 689743 h 1173372"/>
              <a:gd name="connsiteX10" fmla="*/ 1180266 w 1197944"/>
              <a:gd name="connsiteY10" fmla="*/ 746893 h 1173372"/>
              <a:gd name="connsiteX11" fmla="*/ 1149786 w 1197944"/>
              <a:gd name="connsiteY11" fmla="*/ 760228 h 1173372"/>
              <a:gd name="connsiteX12" fmla="*/ 1136451 w 1197944"/>
              <a:gd name="connsiteY12" fmla="*/ 845953 h 1173372"/>
              <a:gd name="connsiteX13" fmla="*/ 1058346 w 1197944"/>
              <a:gd name="connsiteY13" fmla="*/ 897388 h 1173372"/>
              <a:gd name="connsiteX14" fmla="*/ 1064061 w 1197944"/>
              <a:gd name="connsiteY14" fmla="*/ 964063 h 1173372"/>
              <a:gd name="connsiteX15" fmla="*/ 995481 w 1197944"/>
              <a:gd name="connsiteY15" fmla="*/ 986923 h 1173372"/>
              <a:gd name="connsiteX16" fmla="*/ 907851 w 1197944"/>
              <a:gd name="connsiteY16" fmla="*/ 939298 h 1173372"/>
              <a:gd name="connsiteX17" fmla="*/ 824031 w 1197944"/>
              <a:gd name="connsiteY17" fmla="*/ 945013 h 1173372"/>
              <a:gd name="connsiteX18" fmla="*/ 806886 w 1197944"/>
              <a:gd name="connsiteY18" fmla="*/ 1007878 h 1173372"/>
              <a:gd name="connsiteX19" fmla="*/ 776406 w 1197944"/>
              <a:gd name="connsiteY19" fmla="*/ 1004068 h 1173372"/>
              <a:gd name="connsiteX20" fmla="*/ 763071 w 1197944"/>
              <a:gd name="connsiteY20" fmla="*/ 1032643 h 1173372"/>
              <a:gd name="connsiteX21" fmla="*/ 719256 w 1197944"/>
              <a:gd name="connsiteY21" fmla="*/ 1038358 h 1173372"/>
              <a:gd name="connsiteX22" fmla="*/ 709731 w 1197944"/>
              <a:gd name="connsiteY22" fmla="*/ 1061218 h 1173372"/>
              <a:gd name="connsiteX23" fmla="*/ 667821 w 1197944"/>
              <a:gd name="connsiteY23" fmla="*/ 1084078 h 1173372"/>
              <a:gd name="connsiteX24" fmla="*/ 707826 w 1197944"/>
              <a:gd name="connsiteY24" fmla="*/ 1169803 h 1173372"/>
              <a:gd name="connsiteX25" fmla="*/ 612576 w 1197944"/>
              <a:gd name="connsiteY25" fmla="*/ 1158373 h 1173372"/>
              <a:gd name="connsiteX26" fmla="*/ 483036 w 1197944"/>
              <a:gd name="connsiteY26" fmla="*/ 1169803 h 1173372"/>
              <a:gd name="connsiteX27" fmla="*/ 422076 w 1197944"/>
              <a:gd name="connsiteY27" fmla="*/ 1097413 h 1173372"/>
              <a:gd name="connsiteX28" fmla="*/ 355401 w 1197944"/>
              <a:gd name="connsiteY28" fmla="*/ 1093603 h 1173372"/>
              <a:gd name="connsiteX29" fmla="*/ 395406 w 1197944"/>
              <a:gd name="connsiteY29" fmla="*/ 1019308 h 1173372"/>
              <a:gd name="connsiteX30" fmla="*/ 359211 w 1197944"/>
              <a:gd name="connsiteY30" fmla="*/ 975493 h 1173372"/>
              <a:gd name="connsiteX31" fmla="*/ 321111 w 1197944"/>
              <a:gd name="connsiteY31" fmla="*/ 964063 h 1173372"/>
              <a:gd name="connsiteX32" fmla="*/ 269676 w 1197944"/>
              <a:gd name="connsiteY32" fmla="*/ 971683 h 1173372"/>
              <a:gd name="connsiteX33" fmla="*/ 210621 w 1197944"/>
              <a:gd name="connsiteY33" fmla="*/ 939298 h 1173372"/>
              <a:gd name="connsiteX34" fmla="*/ 168711 w 1197944"/>
              <a:gd name="connsiteY34" fmla="*/ 786898 h 1173372"/>
              <a:gd name="connsiteX35" fmla="*/ 243006 w 1197944"/>
              <a:gd name="connsiteY35" fmla="*/ 767848 h 1173372"/>
              <a:gd name="connsiteX36" fmla="*/ 27741 w 1197944"/>
              <a:gd name="connsiteY36" fmla="*/ 411613 h 1173372"/>
              <a:gd name="connsiteX37" fmla="*/ 35361 w 1197944"/>
              <a:gd name="connsiteY37" fmla="*/ 177298 h 1173372"/>
              <a:gd name="connsiteX38" fmla="*/ 324921 w 1197944"/>
              <a:gd name="connsiteY38" fmla="*/ 202063 h 1173372"/>
              <a:gd name="connsiteX39" fmla="*/ 370641 w 1197944"/>
              <a:gd name="connsiteY39" fmla="*/ 137293 h 1173372"/>
              <a:gd name="connsiteX40" fmla="*/ 439221 w 1197944"/>
              <a:gd name="connsiteY40" fmla="*/ 22993 h 1173372"/>
              <a:gd name="connsiteX41" fmla="*/ 827841 w 1197944"/>
              <a:gd name="connsiteY41" fmla="*/ 21088 h 1173372"/>
              <a:gd name="connsiteX42" fmla="*/ 865941 w 1197944"/>
              <a:gd name="connsiteY42" fmla="*/ 133 h 1173372"/>
              <a:gd name="connsiteX43" fmla="*/ 1014531 w 1197944"/>
              <a:gd name="connsiteY43" fmla="*/ 47758 h 1173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97944" h="1173372">
                <a:moveTo>
                  <a:pt x="1014531" y="47758"/>
                </a:moveTo>
                <a:cubicBezTo>
                  <a:pt x="1028184" y="78556"/>
                  <a:pt x="953888" y="142373"/>
                  <a:pt x="947856" y="184918"/>
                </a:cubicBezTo>
                <a:cubicBezTo>
                  <a:pt x="941823" y="227463"/>
                  <a:pt x="978653" y="262071"/>
                  <a:pt x="978336" y="303028"/>
                </a:cubicBezTo>
                <a:cubicBezTo>
                  <a:pt x="978019" y="343985"/>
                  <a:pt x="928171" y="407485"/>
                  <a:pt x="945951" y="430663"/>
                </a:cubicBezTo>
                <a:cubicBezTo>
                  <a:pt x="963731" y="453841"/>
                  <a:pt x="1062474" y="428441"/>
                  <a:pt x="1085016" y="442093"/>
                </a:cubicBezTo>
                <a:cubicBezTo>
                  <a:pt x="1107558" y="455745"/>
                  <a:pt x="1065649" y="485908"/>
                  <a:pt x="1081206" y="512578"/>
                </a:cubicBezTo>
                <a:cubicBezTo>
                  <a:pt x="1096763" y="539248"/>
                  <a:pt x="1171376" y="581158"/>
                  <a:pt x="1178361" y="602113"/>
                </a:cubicBezTo>
                <a:cubicBezTo>
                  <a:pt x="1185346" y="623068"/>
                  <a:pt x="1131371" y="624973"/>
                  <a:pt x="1123116" y="638308"/>
                </a:cubicBezTo>
                <a:cubicBezTo>
                  <a:pt x="1114861" y="651643"/>
                  <a:pt x="1116766" y="673551"/>
                  <a:pt x="1128831" y="682123"/>
                </a:cubicBezTo>
                <a:cubicBezTo>
                  <a:pt x="1140896" y="690695"/>
                  <a:pt x="1186933" y="678948"/>
                  <a:pt x="1195506" y="689743"/>
                </a:cubicBezTo>
                <a:cubicBezTo>
                  <a:pt x="1204079" y="700538"/>
                  <a:pt x="1187886" y="735146"/>
                  <a:pt x="1180266" y="746893"/>
                </a:cubicBezTo>
                <a:cubicBezTo>
                  <a:pt x="1172646" y="758640"/>
                  <a:pt x="1157088" y="743718"/>
                  <a:pt x="1149786" y="760228"/>
                </a:cubicBezTo>
                <a:cubicBezTo>
                  <a:pt x="1142484" y="776738"/>
                  <a:pt x="1151691" y="823093"/>
                  <a:pt x="1136451" y="845953"/>
                </a:cubicBezTo>
                <a:cubicBezTo>
                  <a:pt x="1121211" y="868813"/>
                  <a:pt x="1070411" y="877703"/>
                  <a:pt x="1058346" y="897388"/>
                </a:cubicBezTo>
                <a:cubicBezTo>
                  <a:pt x="1046281" y="917073"/>
                  <a:pt x="1074538" y="949141"/>
                  <a:pt x="1064061" y="964063"/>
                </a:cubicBezTo>
                <a:cubicBezTo>
                  <a:pt x="1053584" y="978985"/>
                  <a:pt x="1021516" y="991050"/>
                  <a:pt x="995481" y="986923"/>
                </a:cubicBezTo>
                <a:cubicBezTo>
                  <a:pt x="969446" y="982796"/>
                  <a:pt x="936426" y="946283"/>
                  <a:pt x="907851" y="939298"/>
                </a:cubicBezTo>
                <a:cubicBezTo>
                  <a:pt x="879276" y="932313"/>
                  <a:pt x="840858" y="933583"/>
                  <a:pt x="824031" y="945013"/>
                </a:cubicBezTo>
                <a:cubicBezTo>
                  <a:pt x="807204" y="956443"/>
                  <a:pt x="814823" y="998036"/>
                  <a:pt x="806886" y="1007878"/>
                </a:cubicBezTo>
                <a:cubicBezTo>
                  <a:pt x="798949" y="1017720"/>
                  <a:pt x="783708" y="999941"/>
                  <a:pt x="776406" y="1004068"/>
                </a:cubicBezTo>
                <a:cubicBezTo>
                  <a:pt x="769103" y="1008196"/>
                  <a:pt x="772596" y="1026928"/>
                  <a:pt x="763071" y="1032643"/>
                </a:cubicBezTo>
                <a:cubicBezTo>
                  <a:pt x="753546" y="1038358"/>
                  <a:pt x="728146" y="1033596"/>
                  <a:pt x="719256" y="1038358"/>
                </a:cubicBezTo>
                <a:cubicBezTo>
                  <a:pt x="710366" y="1043120"/>
                  <a:pt x="718304" y="1053598"/>
                  <a:pt x="709731" y="1061218"/>
                </a:cubicBezTo>
                <a:cubicBezTo>
                  <a:pt x="701158" y="1068838"/>
                  <a:pt x="668138" y="1065981"/>
                  <a:pt x="667821" y="1084078"/>
                </a:cubicBezTo>
                <a:cubicBezTo>
                  <a:pt x="667504" y="1102175"/>
                  <a:pt x="717033" y="1157421"/>
                  <a:pt x="707826" y="1169803"/>
                </a:cubicBezTo>
                <a:cubicBezTo>
                  <a:pt x="698618" y="1182186"/>
                  <a:pt x="650041" y="1158373"/>
                  <a:pt x="612576" y="1158373"/>
                </a:cubicBezTo>
                <a:cubicBezTo>
                  <a:pt x="575111" y="1158373"/>
                  <a:pt x="514786" y="1179963"/>
                  <a:pt x="483036" y="1169803"/>
                </a:cubicBezTo>
                <a:cubicBezTo>
                  <a:pt x="451286" y="1159643"/>
                  <a:pt x="443349" y="1110113"/>
                  <a:pt x="422076" y="1097413"/>
                </a:cubicBezTo>
                <a:cubicBezTo>
                  <a:pt x="400803" y="1084713"/>
                  <a:pt x="359846" y="1106620"/>
                  <a:pt x="355401" y="1093603"/>
                </a:cubicBezTo>
                <a:cubicBezTo>
                  <a:pt x="350956" y="1080586"/>
                  <a:pt x="394771" y="1038993"/>
                  <a:pt x="395406" y="1019308"/>
                </a:cubicBezTo>
                <a:cubicBezTo>
                  <a:pt x="396041" y="999623"/>
                  <a:pt x="371593" y="984701"/>
                  <a:pt x="359211" y="975493"/>
                </a:cubicBezTo>
                <a:cubicBezTo>
                  <a:pt x="346828" y="966286"/>
                  <a:pt x="336033" y="964698"/>
                  <a:pt x="321111" y="964063"/>
                </a:cubicBezTo>
                <a:cubicBezTo>
                  <a:pt x="306189" y="963428"/>
                  <a:pt x="288091" y="975810"/>
                  <a:pt x="269676" y="971683"/>
                </a:cubicBezTo>
                <a:cubicBezTo>
                  <a:pt x="251261" y="967556"/>
                  <a:pt x="227448" y="970095"/>
                  <a:pt x="210621" y="939298"/>
                </a:cubicBezTo>
                <a:cubicBezTo>
                  <a:pt x="193794" y="908501"/>
                  <a:pt x="163313" y="815473"/>
                  <a:pt x="168711" y="786898"/>
                </a:cubicBezTo>
                <a:cubicBezTo>
                  <a:pt x="174109" y="758323"/>
                  <a:pt x="266501" y="830396"/>
                  <a:pt x="243006" y="767848"/>
                </a:cubicBezTo>
                <a:cubicBezTo>
                  <a:pt x="219511" y="705300"/>
                  <a:pt x="62348" y="510038"/>
                  <a:pt x="27741" y="411613"/>
                </a:cubicBezTo>
                <a:cubicBezTo>
                  <a:pt x="-6866" y="313188"/>
                  <a:pt x="-14169" y="212223"/>
                  <a:pt x="35361" y="177298"/>
                </a:cubicBezTo>
                <a:cubicBezTo>
                  <a:pt x="84891" y="142373"/>
                  <a:pt x="269041" y="208731"/>
                  <a:pt x="324921" y="202063"/>
                </a:cubicBezTo>
                <a:cubicBezTo>
                  <a:pt x="380801" y="195395"/>
                  <a:pt x="351591" y="167138"/>
                  <a:pt x="370641" y="137293"/>
                </a:cubicBezTo>
                <a:cubicBezTo>
                  <a:pt x="389691" y="107448"/>
                  <a:pt x="363021" y="42360"/>
                  <a:pt x="439221" y="22993"/>
                </a:cubicBezTo>
                <a:cubicBezTo>
                  <a:pt x="515421" y="3626"/>
                  <a:pt x="756721" y="24898"/>
                  <a:pt x="827841" y="21088"/>
                </a:cubicBezTo>
                <a:cubicBezTo>
                  <a:pt x="898961" y="17278"/>
                  <a:pt x="835143" y="-1772"/>
                  <a:pt x="865941" y="133"/>
                </a:cubicBezTo>
                <a:cubicBezTo>
                  <a:pt x="896739" y="2038"/>
                  <a:pt x="1000878" y="16960"/>
                  <a:pt x="1014531" y="47758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 dirty="0"/>
          </a:p>
        </p:txBody>
      </p:sp>
      <p:sp>
        <p:nvSpPr>
          <p:cNvPr id="5" name="TextBox 4"/>
          <p:cNvSpPr txBox="1"/>
          <p:nvPr/>
        </p:nvSpPr>
        <p:spPr>
          <a:xfrm>
            <a:off x="2804288" y="1303326"/>
            <a:ext cx="711227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Луцьк</a:t>
            </a:r>
          </a:p>
        </p:txBody>
      </p:sp>
      <p:sp>
        <p:nvSpPr>
          <p:cNvPr id="6" name="Полілінія 5"/>
          <p:cNvSpPr/>
          <p:nvPr/>
        </p:nvSpPr>
        <p:spPr>
          <a:xfrm>
            <a:off x="3159902" y="1110221"/>
            <a:ext cx="1255224" cy="1114510"/>
          </a:xfrm>
          <a:custGeom>
            <a:avLst/>
            <a:gdLst>
              <a:gd name="connsiteX0" fmla="*/ 444899 w 1625205"/>
              <a:gd name="connsiteY0" fmla="*/ 1168 h 1443015"/>
              <a:gd name="connsiteX1" fmla="*/ 749699 w 1625205"/>
              <a:gd name="connsiteY1" fmla="*/ 39268 h 1443015"/>
              <a:gd name="connsiteX2" fmla="*/ 768749 w 1625205"/>
              <a:gd name="connsiteY2" fmla="*/ 96418 h 1443015"/>
              <a:gd name="connsiteX3" fmla="*/ 902099 w 1625205"/>
              <a:gd name="connsiteY3" fmla="*/ 83718 h 1443015"/>
              <a:gd name="connsiteX4" fmla="*/ 940199 w 1625205"/>
              <a:gd name="connsiteY4" fmla="*/ 140868 h 1443015"/>
              <a:gd name="connsiteX5" fmla="*/ 1162449 w 1625205"/>
              <a:gd name="connsiteY5" fmla="*/ 153568 h 1443015"/>
              <a:gd name="connsiteX6" fmla="*/ 1289449 w 1625205"/>
              <a:gd name="connsiteY6" fmla="*/ 140868 h 1443015"/>
              <a:gd name="connsiteX7" fmla="*/ 1391049 w 1625205"/>
              <a:gd name="connsiteY7" fmla="*/ 299618 h 1443015"/>
              <a:gd name="connsiteX8" fmla="*/ 1600599 w 1625205"/>
              <a:gd name="connsiteY8" fmla="*/ 286918 h 1443015"/>
              <a:gd name="connsiteX9" fmla="*/ 1613299 w 1625205"/>
              <a:gd name="connsiteY9" fmla="*/ 369468 h 1443015"/>
              <a:gd name="connsiteX10" fmla="*/ 1530749 w 1625205"/>
              <a:gd name="connsiteY10" fmla="*/ 458368 h 1443015"/>
              <a:gd name="connsiteX11" fmla="*/ 1511699 w 1625205"/>
              <a:gd name="connsiteY11" fmla="*/ 458368 h 1443015"/>
              <a:gd name="connsiteX12" fmla="*/ 1359299 w 1625205"/>
              <a:gd name="connsiteY12" fmla="*/ 699668 h 1443015"/>
              <a:gd name="connsiteX13" fmla="*/ 1321199 w 1625205"/>
              <a:gd name="connsiteY13" fmla="*/ 699668 h 1443015"/>
              <a:gd name="connsiteX14" fmla="*/ 1327549 w 1625205"/>
              <a:gd name="connsiteY14" fmla="*/ 991768 h 1443015"/>
              <a:gd name="connsiteX15" fmla="*/ 1124349 w 1625205"/>
              <a:gd name="connsiteY15" fmla="*/ 1099718 h 1443015"/>
              <a:gd name="connsiteX16" fmla="*/ 1022749 w 1625205"/>
              <a:gd name="connsiteY16" fmla="*/ 1125118 h 1443015"/>
              <a:gd name="connsiteX17" fmla="*/ 1022749 w 1625205"/>
              <a:gd name="connsiteY17" fmla="*/ 1169568 h 1443015"/>
              <a:gd name="connsiteX18" fmla="*/ 787799 w 1625205"/>
              <a:gd name="connsiteY18" fmla="*/ 1321968 h 1443015"/>
              <a:gd name="connsiteX19" fmla="*/ 667149 w 1625205"/>
              <a:gd name="connsiteY19" fmla="*/ 1341018 h 1443015"/>
              <a:gd name="connsiteX20" fmla="*/ 660799 w 1625205"/>
              <a:gd name="connsiteY20" fmla="*/ 1283868 h 1443015"/>
              <a:gd name="connsiteX21" fmla="*/ 489349 w 1625205"/>
              <a:gd name="connsiteY21" fmla="*/ 1283868 h 1443015"/>
              <a:gd name="connsiteX22" fmla="*/ 387749 w 1625205"/>
              <a:gd name="connsiteY22" fmla="*/ 1347368 h 1443015"/>
              <a:gd name="connsiteX23" fmla="*/ 209949 w 1625205"/>
              <a:gd name="connsiteY23" fmla="*/ 1334668 h 1443015"/>
              <a:gd name="connsiteX24" fmla="*/ 159149 w 1625205"/>
              <a:gd name="connsiteY24" fmla="*/ 1442618 h 1443015"/>
              <a:gd name="connsiteX25" fmla="*/ 32149 w 1625205"/>
              <a:gd name="connsiteY25" fmla="*/ 1366418 h 1443015"/>
              <a:gd name="connsiteX26" fmla="*/ 57549 w 1625205"/>
              <a:gd name="connsiteY26" fmla="*/ 1245768 h 1443015"/>
              <a:gd name="connsiteX27" fmla="*/ 399 w 1625205"/>
              <a:gd name="connsiteY27" fmla="*/ 1207668 h 1443015"/>
              <a:gd name="connsiteX28" fmla="*/ 32149 w 1625205"/>
              <a:gd name="connsiteY28" fmla="*/ 1156868 h 1443015"/>
              <a:gd name="connsiteX29" fmla="*/ 32149 w 1625205"/>
              <a:gd name="connsiteY29" fmla="*/ 1080668 h 1443015"/>
              <a:gd name="connsiteX30" fmla="*/ 25799 w 1625205"/>
              <a:gd name="connsiteY30" fmla="*/ 1067968 h 1443015"/>
              <a:gd name="connsiteX31" fmla="*/ 76599 w 1625205"/>
              <a:gd name="connsiteY31" fmla="*/ 1029868 h 1443015"/>
              <a:gd name="connsiteX32" fmla="*/ 108349 w 1625205"/>
              <a:gd name="connsiteY32" fmla="*/ 1036218 h 1443015"/>
              <a:gd name="connsiteX33" fmla="*/ 108349 w 1625205"/>
              <a:gd name="connsiteY33" fmla="*/ 1010818 h 1443015"/>
              <a:gd name="connsiteX34" fmla="*/ 152799 w 1625205"/>
              <a:gd name="connsiteY34" fmla="*/ 1010818 h 1443015"/>
              <a:gd name="connsiteX35" fmla="*/ 171849 w 1625205"/>
              <a:gd name="connsiteY35" fmla="*/ 972718 h 1443015"/>
              <a:gd name="connsiteX36" fmla="*/ 292499 w 1625205"/>
              <a:gd name="connsiteY36" fmla="*/ 947318 h 1443015"/>
              <a:gd name="connsiteX37" fmla="*/ 444899 w 1625205"/>
              <a:gd name="connsiteY37" fmla="*/ 998118 h 1443015"/>
              <a:gd name="connsiteX38" fmla="*/ 514749 w 1625205"/>
              <a:gd name="connsiteY38" fmla="*/ 960018 h 1443015"/>
              <a:gd name="connsiteX39" fmla="*/ 495699 w 1625205"/>
              <a:gd name="connsiteY39" fmla="*/ 896518 h 1443015"/>
              <a:gd name="connsiteX40" fmla="*/ 584599 w 1625205"/>
              <a:gd name="connsiteY40" fmla="*/ 858418 h 1443015"/>
              <a:gd name="connsiteX41" fmla="*/ 603649 w 1625205"/>
              <a:gd name="connsiteY41" fmla="*/ 769518 h 1443015"/>
              <a:gd name="connsiteX42" fmla="*/ 648099 w 1625205"/>
              <a:gd name="connsiteY42" fmla="*/ 725068 h 1443015"/>
              <a:gd name="connsiteX43" fmla="*/ 565549 w 1625205"/>
              <a:gd name="connsiteY43" fmla="*/ 642518 h 1443015"/>
              <a:gd name="connsiteX44" fmla="*/ 641749 w 1625205"/>
              <a:gd name="connsiteY44" fmla="*/ 604418 h 1443015"/>
              <a:gd name="connsiteX45" fmla="*/ 514749 w 1625205"/>
              <a:gd name="connsiteY45" fmla="*/ 483768 h 1443015"/>
              <a:gd name="connsiteX46" fmla="*/ 533799 w 1625205"/>
              <a:gd name="connsiteY46" fmla="*/ 413918 h 1443015"/>
              <a:gd name="connsiteX47" fmla="*/ 311549 w 1625205"/>
              <a:gd name="connsiteY47" fmla="*/ 394868 h 1443015"/>
              <a:gd name="connsiteX48" fmla="*/ 406799 w 1625205"/>
              <a:gd name="connsiteY48" fmla="*/ 286918 h 1443015"/>
              <a:gd name="connsiteX49" fmla="*/ 330599 w 1625205"/>
              <a:gd name="connsiteY49" fmla="*/ 191668 h 1443015"/>
              <a:gd name="connsiteX50" fmla="*/ 432199 w 1625205"/>
              <a:gd name="connsiteY50" fmla="*/ 83718 h 1443015"/>
              <a:gd name="connsiteX51" fmla="*/ 444899 w 1625205"/>
              <a:gd name="connsiteY51" fmla="*/ 1168 h 1443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625205" h="1443015">
                <a:moveTo>
                  <a:pt x="444899" y="1168"/>
                </a:moveTo>
                <a:cubicBezTo>
                  <a:pt x="497816" y="-6240"/>
                  <a:pt x="695724" y="23393"/>
                  <a:pt x="749699" y="39268"/>
                </a:cubicBezTo>
                <a:cubicBezTo>
                  <a:pt x="803674" y="55143"/>
                  <a:pt x="743349" y="89010"/>
                  <a:pt x="768749" y="96418"/>
                </a:cubicBezTo>
                <a:cubicBezTo>
                  <a:pt x="794149" y="103826"/>
                  <a:pt x="873524" y="76310"/>
                  <a:pt x="902099" y="83718"/>
                </a:cubicBezTo>
                <a:cubicBezTo>
                  <a:pt x="930674" y="91126"/>
                  <a:pt x="896807" y="129226"/>
                  <a:pt x="940199" y="140868"/>
                </a:cubicBezTo>
                <a:cubicBezTo>
                  <a:pt x="983591" y="152510"/>
                  <a:pt x="1104241" y="153568"/>
                  <a:pt x="1162449" y="153568"/>
                </a:cubicBezTo>
                <a:cubicBezTo>
                  <a:pt x="1220657" y="153568"/>
                  <a:pt x="1251349" y="116526"/>
                  <a:pt x="1289449" y="140868"/>
                </a:cubicBezTo>
                <a:cubicBezTo>
                  <a:pt x="1327549" y="165210"/>
                  <a:pt x="1339191" y="275276"/>
                  <a:pt x="1391049" y="299618"/>
                </a:cubicBezTo>
                <a:cubicBezTo>
                  <a:pt x="1442907" y="323960"/>
                  <a:pt x="1563557" y="275276"/>
                  <a:pt x="1600599" y="286918"/>
                </a:cubicBezTo>
                <a:cubicBezTo>
                  <a:pt x="1637641" y="298560"/>
                  <a:pt x="1624941" y="340893"/>
                  <a:pt x="1613299" y="369468"/>
                </a:cubicBezTo>
                <a:cubicBezTo>
                  <a:pt x="1601657" y="398043"/>
                  <a:pt x="1530749" y="458368"/>
                  <a:pt x="1530749" y="458368"/>
                </a:cubicBezTo>
                <a:cubicBezTo>
                  <a:pt x="1513816" y="473185"/>
                  <a:pt x="1540274" y="418151"/>
                  <a:pt x="1511699" y="458368"/>
                </a:cubicBezTo>
                <a:cubicBezTo>
                  <a:pt x="1483124" y="498585"/>
                  <a:pt x="1391049" y="659451"/>
                  <a:pt x="1359299" y="699668"/>
                </a:cubicBezTo>
                <a:cubicBezTo>
                  <a:pt x="1327549" y="739885"/>
                  <a:pt x="1326491" y="650985"/>
                  <a:pt x="1321199" y="699668"/>
                </a:cubicBezTo>
                <a:cubicBezTo>
                  <a:pt x="1315907" y="748351"/>
                  <a:pt x="1360357" y="925093"/>
                  <a:pt x="1327549" y="991768"/>
                </a:cubicBezTo>
                <a:cubicBezTo>
                  <a:pt x="1294741" y="1058443"/>
                  <a:pt x="1175149" y="1077493"/>
                  <a:pt x="1124349" y="1099718"/>
                </a:cubicBezTo>
                <a:cubicBezTo>
                  <a:pt x="1073549" y="1121943"/>
                  <a:pt x="1039682" y="1113476"/>
                  <a:pt x="1022749" y="1125118"/>
                </a:cubicBezTo>
                <a:cubicBezTo>
                  <a:pt x="1005816" y="1136760"/>
                  <a:pt x="1061907" y="1136760"/>
                  <a:pt x="1022749" y="1169568"/>
                </a:cubicBezTo>
                <a:cubicBezTo>
                  <a:pt x="983591" y="1202376"/>
                  <a:pt x="847066" y="1293393"/>
                  <a:pt x="787799" y="1321968"/>
                </a:cubicBezTo>
                <a:cubicBezTo>
                  <a:pt x="728532" y="1350543"/>
                  <a:pt x="688316" y="1347368"/>
                  <a:pt x="667149" y="1341018"/>
                </a:cubicBezTo>
                <a:cubicBezTo>
                  <a:pt x="645982" y="1334668"/>
                  <a:pt x="690432" y="1293393"/>
                  <a:pt x="660799" y="1283868"/>
                </a:cubicBezTo>
                <a:cubicBezTo>
                  <a:pt x="631166" y="1274343"/>
                  <a:pt x="534857" y="1273285"/>
                  <a:pt x="489349" y="1283868"/>
                </a:cubicBezTo>
                <a:cubicBezTo>
                  <a:pt x="443841" y="1294451"/>
                  <a:pt x="434316" y="1338901"/>
                  <a:pt x="387749" y="1347368"/>
                </a:cubicBezTo>
                <a:cubicBezTo>
                  <a:pt x="341182" y="1355835"/>
                  <a:pt x="248049" y="1318793"/>
                  <a:pt x="209949" y="1334668"/>
                </a:cubicBezTo>
                <a:cubicBezTo>
                  <a:pt x="171849" y="1350543"/>
                  <a:pt x="188782" y="1437326"/>
                  <a:pt x="159149" y="1442618"/>
                </a:cubicBezTo>
                <a:cubicBezTo>
                  <a:pt x="129516" y="1447910"/>
                  <a:pt x="49082" y="1399226"/>
                  <a:pt x="32149" y="1366418"/>
                </a:cubicBezTo>
                <a:cubicBezTo>
                  <a:pt x="15216" y="1333610"/>
                  <a:pt x="62841" y="1272226"/>
                  <a:pt x="57549" y="1245768"/>
                </a:cubicBezTo>
                <a:cubicBezTo>
                  <a:pt x="52257" y="1219310"/>
                  <a:pt x="4632" y="1222485"/>
                  <a:pt x="399" y="1207668"/>
                </a:cubicBezTo>
                <a:cubicBezTo>
                  <a:pt x="-3834" y="1192851"/>
                  <a:pt x="26857" y="1178034"/>
                  <a:pt x="32149" y="1156868"/>
                </a:cubicBezTo>
                <a:cubicBezTo>
                  <a:pt x="37441" y="1135702"/>
                  <a:pt x="33207" y="1095485"/>
                  <a:pt x="32149" y="1080668"/>
                </a:cubicBezTo>
                <a:cubicBezTo>
                  <a:pt x="31091" y="1065851"/>
                  <a:pt x="18391" y="1076435"/>
                  <a:pt x="25799" y="1067968"/>
                </a:cubicBezTo>
                <a:cubicBezTo>
                  <a:pt x="33207" y="1059501"/>
                  <a:pt x="62841" y="1035160"/>
                  <a:pt x="76599" y="1029868"/>
                </a:cubicBezTo>
                <a:cubicBezTo>
                  <a:pt x="90357" y="1024576"/>
                  <a:pt x="108349" y="1036218"/>
                  <a:pt x="108349" y="1036218"/>
                </a:cubicBezTo>
                <a:cubicBezTo>
                  <a:pt x="113641" y="1033043"/>
                  <a:pt x="100941" y="1015051"/>
                  <a:pt x="108349" y="1010818"/>
                </a:cubicBezTo>
                <a:cubicBezTo>
                  <a:pt x="115757" y="1006585"/>
                  <a:pt x="142216" y="1017168"/>
                  <a:pt x="152799" y="1010818"/>
                </a:cubicBezTo>
                <a:cubicBezTo>
                  <a:pt x="163382" y="1004468"/>
                  <a:pt x="148566" y="983301"/>
                  <a:pt x="171849" y="972718"/>
                </a:cubicBezTo>
                <a:cubicBezTo>
                  <a:pt x="195132" y="962135"/>
                  <a:pt x="246991" y="943085"/>
                  <a:pt x="292499" y="947318"/>
                </a:cubicBezTo>
                <a:cubicBezTo>
                  <a:pt x="338007" y="951551"/>
                  <a:pt x="407857" y="996001"/>
                  <a:pt x="444899" y="998118"/>
                </a:cubicBezTo>
                <a:cubicBezTo>
                  <a:pt x="481941" y="1000235"/>
                  <a:pt x="506282" y="976951"/>
                  <a:pt x="514749" y="960018"/>
                </a:cubicBezTo>
                <a:cubicBezTo>
                  <a:pt x="523216" y="943085"/>
                  <a:pt x="484057" y="913451"/>
                  <a:pt x="495699" y="896518"/>
                </a:cubicBezTo>
                <a:cubicBezTo>
                  <a:pt x="507341" y="879585"/>
                  <a:pt x="566607" y="879585"/>
                  <a:pt x="584599" y="858418"/>
                </a:cubicBezTo>
                <a:cubicBezTo>
                  <a:pt x="602591" y="837251"/>
                  <a:pt x="593066" y="791743"/>
                  <a:pt x="603649" y="769518"/>
                </a:cubicBezTo>
                <a:cubicBezTo>
                  <a:pt x="614232" y="747293"/>
                  <a:pt x="654449" y="746235"/>
                  <a:pt x="648099" y="725068"/>
                </a:cubicBezTo>
                <a:cubicBezTo>
                  <a:pt x="641749" y="703901"/>
                  <a:pt x="566607" y="662626"/>
                  <a:pt x="565549" y="642518"/>
                </a:cubicBezTo>
                <a:cubicBezTo>
                  <a:pt x="564491" y="622410"/>
                  <a:pt x="650216" y="630876"/>
                  <a:pt x="641749" y="604418"/>
                </a:cubicBezTo>
                <a:cubicBezTo>
                  <a:pt x="633282" y="577960"/>
                  <a:pt x="532741" y="515518"/>
                  <a:pt x="514749" y="483768"/>
                </a:cubicBezTo>
                <a:cubicBezTo>
                  <a:pt x="496757" y="452018"/>
                  <a:pt x="567666" y="428735"/>
                  <a:pt x="533799" y="413918"/>
                </a:cubicBezTo>
                <a:cubicBezTo>
                  <a:pt x="499932" y="399101"/>
                  <a:pt x="332716" y="416035"/>
                  <a:pt x="311549" y="394868"/>
                </a:cubicBezTo>
                <a:cubicBezTo>
                  <a:pt x="290382" y="373701"/>
                  <a:pt x="403624" y="320785"/>
                  <a:pt x="406799" y="286918"/>
                </a:cubicBezTo>
                <a:cubicBezTo>
                  <a:pt x="409974" y="253051"/>
                  <a:pt x="326366" y="225535"/>
                  <a:pt x="330599" y="191668"/>
                </a:cubicBezTo>
                <a:cubicBezTo>
                  <a:pt x="334832" y="157801"/>
                  <a:pt x="409974" y="113351"/>
                  <a:pt x="432199" y="83718"/>
                </a:cubicBezTo>
                <a:cubicBezTo>
                  <a:pt x="454424" y="54085"/>
                  <a:pt x="391982" y="8576"/>
                  <a:pt x="444899" y="1168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7" name="TextBox 6"/>
          <p:cNvSpPr txBox="1"/>
          <p:nvPr/>
        </p:nvSpPr>
        <p:spPr>
          <a:xfrm>
            <a:off x="3595088" y="1536735"/>
            <a:ext cx="58117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Рівне</a:t>
            </a:r>
            <a:endParaRPr lang="uk-UA" sz="1236" b="1" dirty="0"/>
          </a:p>
        </p:txBody>
      </p:sp>
      <p:sp>
        <p:nvSpPr>
          <p:cNvPr id="8" name="Полілінія 7"/>
          <p:cNvSpPr/>
          <p:nvPr/>
        </p:nvSpPr>
        <p:spPr>
          <a:xfrm>
            <a:off x="4093593" y="1303326"/>
            <a:ext cx="1217589" cy="1229565"/>
          </a:xfrm>
          <a:custGeom>
            <a:avLst/>
            <a:gdLst>
              <a:gd name="connsiteX0" fmla="*/ 349329 w 1598748"/>
              <a:gd name="connsiteY0" fmla="*/ 88937 h 1552083"/>
              <a:gd name="connsiteX1" fmla="*/ 114379 w 1598748"/>
              <a:gd name="connsiteY1" fmla="*/ 419137 h 1552083"/>
              <a:gd name="connsiteX2" fmla="*/ 63579 w 1598748"/>
              <a:gd name="connsiteY2" fmla="*/ 425487 h 1552083"/>
              <a:gd name="connsiteX3" fmla="*/ 85804 w 1598748"/>
              <a:gd name="connsiteY3" fmla="*/ 682662 h 1552083"/>
              <a:gd name="connsiteX4" fmla="*/ 79 w 1598748"/>
              <a:gd name="connsiteY4" fmla="*/ 771562 h 1552083"/>
              <a:gd name="connsiteX5" fmla="*/ 69929 w 1598748"/>
              <a:gd name="connsiteY5" fmla="*/ 869987 h 1552083"/>
              <a:gd name="connsiteX6" fmla="*/ 50879 w 1598748"/>
              <a:gd name="connsiteY6" fmla="*/ 908087 h 1552083"/>
              <a:gd name="connsiteX7" fmla="*/ 225504 w 1598748"/>
              <a:gd name="connsiteY7" fmla="*/ 1070012 h 1552083"/>
              <a:gd name="connsiteX8" fmla="*/ 276304 w 1598748"/>
              <a:gd name="connsiteY8" fmla="*/ 1054137 h 1552083"/>
              <a:gd name="connsiteX9" fmla="*/ 292179 w 1598748"/>
              <a:gd name="connsiteY9" fmla="*/ 1123987 h 1552083"/>
              <a:gd name="connsiteX10" fmla="*/ 301704 w 1598748"/>
              <a:gd name="connsiteY10" fmla="*/ 1209712 h 1552083"/>
              <a:gd name="connsiteX11" fmla="*/ 244554 w 1598748"/>
              <a:gd name="connsiteY11" fmla="*/ 1216062 h 1552083"/>
              <a:gd name="connsiteX12" fmla="*/ 235029 w 1598748"/>
              <a:gd name="connsiteY12" fmla="*/ 1282737 h 1552083"/>
              <a:gd name="connsiteX13" fmla="*/ 200104 w 1598748"/>
              <a:gd name="connsiteY13" fmla="*/ 1289087 h 1552083"/>
              <a:gd name="connsiteX14" fmla="*/ 387429 w 1598748"/>
              <a:gd name="connsiteY14" fmla="*/ 1435137 h 1552083"/>
              <a:gd name="connsiteX15" fmla="*/ 765254 w 1598748"/>
              <a:gd name="connsiteY15" fmla="*/ 1384337 h 1552083"/>
              <a:gd name="connsiteX16" fmla="*/ 977979 w 1598748"/>
              <a:gd name="connsiteY16" fmla="*/ 1384337 h 1552083"/>
              <a:gd name="connsiteX17" fmla="*/ 1063704 w 1598748"/>
              <a:gd name="connsiteY17" fmla="*/ 1308137 h 1552083"/>
              <a:gd name="connsiteX18" fmla="*/ 1095454 w 1598748"/>
              <a:gd name="connsiteY18" fmla="*/ 1543087 h 1552083"/>
              <a:gd name="connsiteX19" fmla="*/ 1428829 w 1598748"/>
              <a:gd name="connsiteY19" fmla="*/ 1504987 h 1552083"/>
              <a:gd name="connsiteX20" fmla="*/ 1378029 w 1598748"/>
              <a:gd name="connsiteY20" fmla="*/ 1520862 h 1552083"/>
              <a:gd name="connsiteX21" fmla="*/ 1368504 w 1598748"/>
              <a:gd name="connsiteY21" fmla="*/ 1416087 h 1552083"/>
              <a:gd name="connsiteX22" fmla="*/ 1593929 w 1598748"/>
              <a:gd name="connsiteY22" fmla="*/ 1285912 h 1552083"/>
              <a:gd name="connsiteX23" fmla="*/ 1527254 w 1598748"/>
              <a:gd name="connsiteY23" fmla="*/ 1209712 h 1552083"/>
              <a:gd name="connsiteX24" fmla="*/ 1581229 w 1598748"/>
              <a:gd name="connsiteY24" fmla="*/ 1168437 h 1552083"/>
              <a:gd name="connsiteX25" fmla="*/ 1470104 w 1598748"/>
              <a:gd name="connsiteY25" fmla="*/ 936662 h 1552083"/>
              <a:gd name="connsiteX26" fmla="*/ 1400254 w 1598748"/>
              <a:gd name="connsiteY26" fmla="*/ 927137 h 1552083"/>
              <a:gd name="connsiteX27" fmla="*/ 1438354 w 1598748"/>
              <a:gd name="connsiteY27" fmla="*/ 885862 h 1552083"/>
              <a:gd name="connsiteX28" fmla="*/ 1406604 w 1598748"/>
              <a:gd name="connsiteY28" fmla="*/ 860462 h 1552083"/>
              <a:gd name="connsiteX29" fmla="*/ 1454229 w 1598748"/>
              <a:gd name="connsiteY29" fmla="*/ 838237 h 1552083"/>
              <a:gd name="connsiteX30" fmla="*/ 1435179 w 1598748"/>
              <a:gd name="connsiteY30" fmla="*/ 746162 h 1552083"/>
              <a:gd name="connsiteX31" fmla="*/ 1489154 w 1598748"/>
              <a:gd name="connsiteY31" fmla="*/ 701712 h 1552083"/>
              <a:gd name="connsiteX32" fmla="*/ 1451054 w 1598748"/>
              <a:gd name="connsiteY32" fmla="*/ 666787 h 1552083"/>
              <a:gd name="connsiteX33" fmla="*/ 1444704 w 1598748"/>
              <a:gd name="connsiteY33" fmla="*/ 568362 h 1552083"/>
              <a:gd name="connsiteX34" fmla="*/ 1384379 w 1598748"/>
              <a:gd name="connsiteY34" fmla="*/ 530262 h 1552083"/>
              <a:gd name="connsiteX35" fmla="*/ 1444704 w 1598748"/>
              <a:gd name="connsiteY35" fmla="*/ 473112 h 1552083"/>
              <a:gd name="connsiteX36" fmla="*/ 1378029 w 1598748"/>
              <a:gd name="connsiteY36" fmla="*/ 393737 h 1552083"/>
              <a:gd name="connsiteX37" fmla="*/ 1314529 w 1598748"/>
              <a:gd name="connsiteY37" fmla="*/ 384212 h 1552083"/>
              <a:gd name="connsiteX38" fmla="*/ 1339929 w 1598748"/>
              <a:gd name="connsiteY38" fmla="*/ 225462 h 1552083"/>
              <a:gd name="connsiteX39" fmla="*/ 1397079 w 1598748"/>
              <a:gd name="connsiteY39" fmla="*/ 187362 h 1552083"/>
              <a:gd name="connsiteX40" fmla="*/ 1308179 w 1598748"/>
              <a:gd name="connsiteY40" fmla="*/ 177837 h 1552083"/>
              <a:gd name="connsiteX41" fmla="*/ 1263729 w 1598748"/>
              <a:gd name="connsiteY41" fmla="*/ 22262 h 1552083"/>
              <a:gd name="connsiteX42" fmla="*/ 1079579 w 1598748"/>
              <a:gd name="connsiteY42" fmla="*/ 69887 h 1552083"/>
              <a:gd name="connsiteX43" fmla="*/ 1022429 w 1598748"/>
              <a:gd name="connsiteY43" fmla="*/ 168312 h 1552083"/>
              <a:gd name="connsiteX44" fmla="*/ 933529 w 1598748"/>
              <a:gd name="connsiteY44" fmla="*/ 127037 h 1552083"/>
              <a:gd name="connsiteX45" fmla="*/ 908129 w 1598748"/>
              <a:gd name="connsiteY45" fmla="*/ 41312 h 1552083"/>
              <a:gd name="connsiteX46" fmla="*/ 806529 w 1598748"/>
              <a:gd name="connsiteY46" fmla="*/ 66712 h 1552083"/>
              <a:gd name="connsiteX47" fmla="*/ 743029 w 1598748"/>
              <a:gd name="connsiteY47" fmla="*/ 31787 h 1552083"/>
              <a:gd name="connsiteX48" fmla="*/ 663654 w 1598748"/>
              <a:gd name="connsiteY48" fmla="*/ 37 h 1552083"/>
              <a:gd name="connsiteX49" fmla="*/ 596979 w 1598748"/>
              <a:gd name="connsiteY49" fmla="*/ 38137 h 1552083"/>
              <a:gd name="connsiteX50" fmla="*/ 508079 w 1598748"/>
              <a:gd name="connsiteY50" fmla="*/ 12737 h 1552083"/>
              <a:gd name="connsiteX51" fmla="*/ 457279 w 1598748"/>
              <a:gd name="connsiteY51" fmla="*/ 41312 h 1552083"/>
              <a:gd name="connsiteX52" fmla="*/ 349329 w 1598748"/>
              <a:gd name="connsiteY52" fmla="*/ 88937 h 1552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598748" h="1552083">
                <a:moveTo>
                  <a:pt x="349329" y="88937"/>
                </a:moveTo>
                <a:cubicBezTo>
                  <a:pt x="292179" y="151908"/>
                  <a:pt x="162004" y="363045"/>
                  <a:pt x="114379" y="419137"/>
                </a:cubicBezTo>
                <a:cubicBezTo>
                  <a:pt x="66754" y="475229"/>
                  <a:pt x="68341" y="381566"/>
                  <a:pt x="63579" y="425487"/>
                </a:cubicBezTo>
                <a:cubicBezTo>
                  <a:pt x="58817" y="469408"/>
                  <a:pt x="96387" y="624983"/>
                  <a:pt x="85804" y="682662"/>
                </a:cubicBezTo>
                <a:cubicBezTo>
                  <a:pt x="75221" y="740341"/>
                  <a:pt x="2725" y="740341"/>
                  <a:pt x="79" y="771562"/>
                </a:cubicBezTo>
                <a:cubicBezTo>
                  <a:pt x="-2567" y="802783"/>
                  <a:pt x="61462" y="847233"/>
                  <a:pt x="69929" y="869987"/>
                </a:cubicBezTo>
                <a:cubicBezTo>
                  <a:pt x="78396" y="892741"/>
                  <a:pt x="24950" y="874750"/>
                  <a:pt x="50879" y="908087"/>
                </a:cubicBezTo>
                <a:cubicBezTo>
                  <a:pt x="76808" y="941424"/>
                  <a:pt x="187933" y="1045670"/>
                  <a:pt x="225504" y="1070012"/>
                </a:cubicBezTo>
                <a:cubicBezTo>
                  <a:pt x="263075" y="1094354"/>
                  <a:pt x="265192" y="1045141"/>
                  <a:pt x="276304" y="1054137"/>
                </a:cubicBezTo>
                <a:cubicBezTo>
                  <a:pt x="287416" y="1063133"/>
                  <a:pt x="287946" y="1098058"/>
                  <a:pt x="292179" y="1123987"/>
                </a:cubicBezTo>
                <a:cubicBezTo>
                  <a:pt x="296412" y="1149916"/>
                  <a:pt x="309641" y="1194366"/>
                  <a:pt x="301704" y="1209712"/>
                </a:cubicBezTo>
                <a:cubicBezTo>
                  <a:pt x="293767" y="1225058"/>
                  <a:pt x="255667" y="1203891"/>
                  <a:pt x="244554" y="1216062"/>
                </a:cubicBezTo>
                <a:cubicBezTo>
                  <a:pt x="233441" y="1228233"/>
                  <a:pt x="242437" y="1270566"/>
                  <a:pt x="235029" y="1282737"/>
                </a:cubicBezTo>
                <a:cubicBezTo>
                  <a:pt x="227621" y="1294908"/>
                  <a:pt x="174704" y="1263687"/>
                  <a:pt x="200104" y="1289087"/>
                </a:cubicBezTo>
                <a:cubicBezTo>
                  <a:pt x="225504" y="1314487"/>
                  <a:pt x="293237" y="1419262"/>
                  <a:pt x="387429" y="1435137"/>
                </a:cubicBezTo>
                <a:cubicBezTo>
                  <a:pt x="481621" y="1451012"/>
                  <a:pt x="666829" y="1392804"/>
                  <a:pt x="765254" y="1384337"/>
                </a:cubicBezTo>
                <a:cubicBezTo>
                  <a:pt x="863679" y="1375870"/>
                  <a:pt x="928237" y="1397037"/>
                  <a:pt x="977979" y="1384337"/>
                </a:cubicBezTo>
                <a:cubicBezTo>
                  <a:pt x="1027721" y="1371637"/>
                  <a:pt x="1044125" y="1281679"/>
                  <a:pt x="1063704" y="1308137"/>
                </a:cubicBezTo>
                <a:cubicBezTo>
                  <a:pt x="1083283" y="1334595"/>
                  <a:pt x="1034600" y="1510279"/>
                  <a:pt x="1095454" y="1543087"/>
                </a:cubicBezTo>
                <a:cubicBezTo>
                  <a:pt x="1156308" y="1575895"/>
                  <a:pt x="1381733" y="1508691"/>
                  <a:pt x="1428829" y="1504987"/>
                </a:cubicBezTo>
                <a:cubicBezTo>
                  <a:pt x="1475925" y="1501283"/>
                  <a:pt x="1388083" y="1535679"/>
                  <a:pt x="1378029" y="1520862"/>
                </a:cubicBezTo>
                <a:cubicBezTo>
                  <a:pt x="1367975" y="1506045"/>
                  <a:pt x="1332521" y="1455245"/>
                  <a:pt x="1368504" y="1416087"/>
                </a:cubicBezTo>
                <a:cubicBezTo>
                  <a:pt x="1404487" y="1376929"/>
                  <a:pt x="1567471" y="1320308"/>
                  <a:pt x="1593929" y="1285912"/>
                </a:cubicBezTo>
                <a:cubicBezTo>
                  <a:pt x="1620387" y="1251516"/>
                  <a:pt x="1529371" y="1229291"/>
                  <a:pt x="1527254" y="1209712"/>
                </a:cubicBezTo>
                <a:cubicBezTo>
                  <a:pt x="1525137" y="1190133"/>
                  <a:pt x="1590754" y="1213945"/>
                  <a:pt x="1581229" y="1168437"/>
                </a:cubicBezTo>
                <a:cubicBezTo>
                  <a:pt x="1571704" y="1122929"/>
                  <a:pt x="1500266" y="976879"/>
                  <a:pt x="1470104" y="936662"/>
                </a:cubicBezTo>
                <a:cubicBezTo>
                  <a:pt x="1439942" y="896445"/>
                  <a:pt x="1405546" y="935604"/>
                  <a:pt x="1400254" y="927137"/>
                </a:cubicBezTo>
                <a:cubicBezTo>
                  <a:pt x="1394962" y="918670"/>
                  <a:pt x="1437296" y="896974"/>
                  <a:pt x="1438354" y="885862"/>
                </a:cubicBezTo>
                <a:cubicBezTo>
                  <a:pt x="1439412" y="874750"/>
                  <a:pt x="1403958" y="868399"/>
                  <a:pt x="1406604" y="860462"/>
                </a:cubicBezTo>
                <a:cubicBezTo>
                  <a:pt x="1409250" y="852525"/>
                  <a:pt x="1449467" y="857287"/>
                  <a:pt x="1454229" y="838237"/>
                </a:cubicBezTo>
                <a:cubicBezTo>
                  <a:pt x="1458991" y="819187"/>
                  <a:pt x="1429358" y="768916"/>
                  <a:pt x="1435179" y="746162"/>
                </a:cubicBezTo>
                <a:cubicBezTo>
                  <a:pt x="1441000" y="723408"/>
                  <a:pt x="1486508" y="714941"/>
                  <a:pt x="1489154" y="701712"/>
                </a:cubicBezTo>
                <a:cubicBezTo>
                  <a:pt x="1491800" y="688483"/>
                  <a:pt x="1458462" y="689012"/>
                  <a:pt x="1451054" y="666787"/>
                </a:cubicBezTo>
                <a:cubicBezTo>
                  <a:pt x="1443646" y="644562"/>
                  <a:pt x="1455816" y="591116"/>
                  <a:pt x="1444704" y="568362"/>
                </a:cubicBezTo>
                <a:cubicBezTo>
                  <a:pt x="1433592" y="545608"/>
                  <a:pt x="1384379" y="546137"/>
                  <a:pt x="1384379" y="530262"/>
                </a:cubicBezTo>
                <a:cubicBezTo>
                  <a:pt x="1384379" y="514387"/>
                  <a:pt x="1445762" y="495866"/>
                  <a:pt x="1444704" y="473112"/>
                </a:cubicBezTo>
                <a:cubicBezTo>
                  <a:pt x="1443646" y="450358"/>
                  <a:pt x="1399725" y="408554"/>
                  <a:pt x="1378029" y="393737"/>
                </a:cubicBezTo>
                <a:cubicBezTo>
                  <a:pt x="1356333" y="378920"/>
                  <a:pt x="1320879" y="412258"/>
                  <a:pt x="1314529" y="384212"/>
                </a:cubicBezTo>
                <a:cubicBezTo>
                  <a:pt x="1308179" y="356166"/>
                  <a:pt x="1326171" y="258270"/>
                  <a:pt x="1339929" y="225462"/>
                </a:cubicBezTo>
                <a:cubicBezTo>
                  <a:pt x="1353687" y="192654"/>
                  <a:pt x="1402371" y="195299"/>
                  <a:pt x="1397079" y="187362"/>
                </a:cubicBezTo>
                <a:cubicBezTo>
                  <a:pt x="1391787" y="179425"/>
                  <a:pt x="1330404" y="205354"/>
                  <a:pt x="1308179" y="177837"/>
                </a:cubicBezTo>
                <a:cubicBezTo>
                  <a:pt x="1285954" y="150320"/>
                  <a:pt x="1301829" y="40254"/>
                  <a:pt x="1263729" y="22262"/>
                </a:cubicBezTo>
                <a:cubicBezTo>
                  <a:pt x="1225629" y="4270"/>
                  <a:pt x="1119796" y="45545"/>
                  <a:pt x="1079579" y="69887"/>
                </a:cubicBezTo>
                <a:cubicBezTo>
                  <a:pt x="1039362" y="94229"/>
                  <a:pt x="1046771" y="158787"/>
                  <a:pt x="1022429" y="168312"/>
                </a:cubicBezTo>
                <a:cubicBezTo>
                  <a:pt x="998087" y="177837"/>
                  <a:pt x="952579" y="148203"/>
                  <a:pt x="933529" y="127037"/>
                </a:cubicBezTo>
                <a:cubicBezTo>
                  <a:pt x="914479" y="105871"/>
                  <a:pt x="929296" y="51366"/>
                  <a:pt x="908129" y="41312"/>
                </a:cubicBezTo>
                <a:cubicBezTo>
                  <a:pt x="886962" y="31258"/>
                  <a:pt x="834046" y="68299"/>
                  <a:pt x="806529" y="66712"/>
                </a:cubicBezTo>
                <a:cubicBezTo>
                  <a:pt x="779012" y="65125"/>
                  <a:pt x="766842" y="42899"/>
                  <a:pt x="743029" y="31787"/>
                </a:cubicBezTo>
                <a:cubicBezTo>
                  <a:pt x="719217" y="20674"/>
                  <a:pt x="687996" y="-1021"/>
                  <a:pt x="663654" y="37"/>
                </a:cubicBezTo>
                <a:cubicBezTo>
                  <a:pt x="639312" y="1095"/>
                  <a:pt x="622908" y="36020"/>
                  <a:pt x="596979" y="38137"/>
                </a:cubicBezTo>
                <a:cubicBezTo>
                  <a:pt x="571050" y="40254"/>
                  <a:pt x="531362" y="12208"/>
                  <a:pt x="508079" y="12737"/>
                </a:cubicBezTo>
                <a:cubicBezTo>
                  <a:pt x="484796" y="13266"/>
                  <a:pt x="481621" y="29670"/>
                  <a:pt x="457279" y="41312"/>
                </a:cubicBezTo>
                <a:cubicBezTo>
                  <a:pt x="432937" y="52954"/>
                  <a:pt x="406479" y="25966"/>
                  <a:pt x="349329" y="88937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9" name="TextBox 8"/>
          <p:cNvSpPr txBox="1"/>
          <p:nvPr/>
        </p:nvSpPr>
        <p:spPr>
          <a:xfrm>
            <a:off x="4315347" y="1748222"/>
            <a:ext cx="886807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Житомир</a:t>
            </a:r>
            <a:endParaRPr lang="uk-UA" sz="1236" b="1" dirty="0"/>
          </a:p>
        </p:txBody>
      </p:sp>
      <p:sp>
        <p:nvSpPr>
          <p:cNvPr id="10" name="Полілінія 9"/>
          <p:cNvSpPr/>
          <p:nvPr/>
        </p:nvSpPr>
        <p:spPr>
          <a:xfrm>
            <a:off x="5114514" y="1417354"/>
            <a:ext cx="1345185" cy="1358426"/>
          </a:xfrm>
          <a:custGeom>
            <a:avLst/>
            <a:gdLst>
              <a:gd name="connsiteX0" fmla="*/ 44766 w 1741682"/>
              <a:gd name="connsiteY0" fmla="*/ 71282 h 1758826"/>
              <a:gd name="connsiteX1" fmla="*/ 6666 w 1741682"/>
              <a:gd name="connsiteY1" fmla="*/ 198282 h 1758826"/>
              <a:gd name="connsiteX2" fmla="*/ 6666 w 1741682"/>
              <a:gd name="connsiteY2" fmla="*/ 252257 h 1758826"/>
              <a:gd name="connsiteX3" fmla="*/ 73341 w 1741682"/>
              <a:gd name="connsiteY3" fmla="*/ 284007 h 1758826"/>
              <a:gd name="connsiteX4" fmla="*/ 114616 w 1741682"/>
              <a:gd name="connsiteY4" fmla="*/ 363382 h 1758826"/>
              <a:gd name="connsiteX5" fmla="*/ 57466 w 1741682"/>
              <a:gd name="connsiteY5" fmla="*/ 398307 h 1758826"/>
              <a:gd name="connsiteX6" fmla="*/ 120966 w 1741682"/>
              <a:gd name="connsiteY6" fmla="*/ 452282 h 1758826"/>
              <a:gd name="connsiteX7" fmla="*/ 130491 w 1741682"/>
              <a:gd name="connsiteY7" fmla="*/ 531657 h 1758826"/>
              <a:gd name="connsiteX8" fmla="*/ 168591 w 1741682"/>
              <a:gd name="connsiteY8" fmla="*/ 579282 h 1758826"/>
              <a:gd name="connsiteX9" fmla="*/ 111441 w 1741682"/>
              <a:gd name="connsiteY9" fmla="*/ 642782 h 1758826"/>
              <a:gd name="connsiteX10" fmla="*/ 120966 w 1741682"/>
              <a:gd name="connsiteY10" fmla="*/ 706282 h 1758826"/>
              <a:gd name="connsiteX11" fmla="*/ 82866 w 1741682"/>
              <a:gd name="connsiteY11" fmla="*/ 725332 h 1758826"/>
              <a:gd name="connsiteX12" fmla="*/ 117791 w 1741682"/>
              <a:gd name="connsiteY12" fmla="*/ 760257 h 1758826"/>
              <a:gd name="connsiteX13" fmla="*/ 73341 w 1741682"/>
              <a:gd name="connsiteY13" fmla="*/ 785657 h 1758826"/>
              <a:gd name="connsiteX14" fmla="*/ 171766 w 1741682"/>
              <a:gd name="connsiteY14" fmla="*/ 833282 h 1758826"/>
              <a:gd name="connsiteX15" fmla="*/ 228916 w 1741682"/>
              <a:gd name="connsiteY15" fmla="*/ 928532 h 1758826"/>
              <a:gd name="connsiteX16" fmla="*/ 251141 w 1741682"/>
              <a:gd name="connsiteY16" fmla="*/ 1026957 h 1758826"/>
              <a:gd name="connsiteX17" fmla="*/ 209866 w 1741682"/>
              <a:gd name="connsiteY17" fmla="*/ 1106332 h 1758826"/>
              <a:gd name="connsiteX18" fmla="*/ 257491 w 1741682"/>
              <a:gd name="connsiteY18" fmla="*/ 1173007 h 1758826"/>
              <a:gd name="connsiteX19" fmla="*/ 73341 w 1741682"/>
              <a:gd name="connsiteY19" fmla="*/ 1274607 h 1758826"/>
              <a:gd name="connsiteX20" fmla="*/ 95566 w 1741682"/>
              <a:gd name="connsiteY20" fmla="*/ 1388907 h 1758826"/>
              <a:gd name="connsiteX21" fmla="*/ 136841 w 1741682"/>
              <a:gd name="connsiteY21" fmla="*/ 1560357 h 1758826"/>
              <a:gd name="connsiteX22" fmla="*/ 86041 w 1741682"/>
              <a:gd name="connsiteY22" fmla="*/ 1592107 h 1758826"/>
              <a:gd name="connsiteX23" fmla="*/ 241616 w 1741682"/>
              <a:gd name="connsiteY23" fmla="*/ 1754032 h 1758826"/>
              <a:gd name="connsiteX24" fmla="*/ 381316 w 1741682"/>
              <a:gd name="connsiteY24" fmla="*/ 1709582 h 1758826"/>
              <a:gd name="connsiteX25" fmla="*/ 530541 w 1741682"/>
              <a:gd name="connsiteY25" fmla="*/ 1642907 h 1758826"/>
              <a:gd name="connsiteX26" fmla="*/ 543241 w 1741682"/>
              <a:gd name="connsiteY26" fmla="*/ 1668307 h 1758826"/>
              <a:gd name="connsiteX27" fmla="*/ 660716 w 1741682"/>
              <a:gd name="connsiteY27" fmla="*/ 1712757 h 1758826"/>
              <a:gd name="connsiteX28" fmla="*/ 682941 w 1741682"/>
              <a:gd name="connsiteY28" fmla="*/ 1649257 h 1758826"/>
              <a:gd name="connsiteX29" fmla="*/ 822641 w 1741682"/>
              <a:gd name="connsiteY29" fmla="*/ 1642907 h 1758826"/>
              <a:gd name="connsiteX30" fmla="*/ 987741 w 1741682"/>
              <a:gd name="connsiteY30" fmla="*/ 1620682 h 1758826"/>
              <a:gd name="connsiteX31" fmla="*/ 1143316 w 1741682"/>
              <a:gd name="connsiteY31" fmla="*/ 1427007 h 1758826"/>
              <a:gd name="connsiteX32" fmla="*/ 1171891 w 1741682"/>
              <a:gd name="connsiteY32" fmla="*/ 1230157 h 1758826"/>
              <a:gd name="connsiteX33" fmla="*/ 1336991 w 1741682"/>
              <a:gd name="connsiteY33" fmla="*/ 1220632 h 1758826"/>
              <a:gd name="connsiteX34" fmla="*/ 1479866 w 1741682"/>
              <a:gd name="connsiteY34" fmla="*/ 1239682 h 1758826"/>
              <a:gd name="connsiteX35" fmla="*/ 1679891 w 1741682"/>
              <a:gd name="connsiteY35" fmla="*/ 931707 h 1758826"/>
              <a:gd name="connsiteX36" fmla="*/ 1740216 w 1741682"/>
              <a:gd name="connsiteY36" fmla="*/ 836457 h 1758826"/>
              <a:gd name="connsiteX37" fmla="*/ 1632266 w 1741682"/>
              <a:gd name="connsiteY37" fmla="*/ 772957 h 1758826"/>
              <a:gd name="connsiteX38" fmla="*/ 1670366 w 1741682"/>
              <a:gd name="connsiteY38" fmla="*/ 709457 h 1758826"/>
              <a:gd name="connsiteX39" fmla="*/ 1606866 w 1741682"/>
              <a:gd name="connsiteY39" fmla="*/ 712632 h 1758826"/>
              <a:gd name="connsiteX40" fmla="*/ 1565591 w 1741682"/>
              <a:gd name="connsiteY40" fmla="*/ 665007 h 1758826"/>
              <a:gd name="connsiteX41" fmla="*/ 1410016 w 1741682"/>
              <a:gd name="connsiteY41" fmla="*/ 747557 h 1758826"/>
              <a:gd name="connsiteX42" fmla="*/ 1222691 w 1741682"/>
              <a:gd name="connsiteY42" fmla="*/ 718982 h 1758826"/>
              <a:gd name="connsiteX43" fmla="*/ 1140141 w 1741682"/>
              <a:gd name="connsiteY43" fmla="*/ 677707 h 1758826"/>
              <a:gd name="connsiteX44" fmla="*/ 1178241 w 1741682"/>
              <a:gd name="connsiteY44" fmla="*/ 639607 h 1758826"/>
              <a:gd name="connsiteX45" fmla="*/ 1079816 w 1741682"/>
              <a:gd name="connsiteY45" fmla="*/ 560232 h 1758826"/>
              <a:gd name="connsiteX46" fmla="*/ 873441 w 1741682"/>
              <a:gd name="connsiteY46" fmla="*/ 563407 h 1758826"/>
              <a:gd name="connsiteX47" fmla="*/ 911541 w 1741682"/>
              <a:gd name="connsiteY47" fmla="*/ 487207 h 1758826"/>
              <a:gd name="connsiteX48" fmla="*/ 841691 w 1741682"/>
              <a:gd name="connsiteY48" fmla="*/ 458632 h 1758826"/>
              <a:gd name="connsiteX49" fmla="*/ 822641 w 1741682"/>
              <a:gd name="connsiteY49" fmla="*/ 388782 h 1758826"/>
              <a:gd name="connsiteX50" fmla="*/ 806766 w 1741682"/>
              <a:gd name="connsiteY50" fmla="*/ 369732 h 1758826"/>
              <a:gd name="connsiteX51" fmla="*/ 790891 w 1741682"/>
              <a:gd name="connsiteY51" fmla="*/ 128432 h 1758826"/>
              <a:gd name="connsiteX52" fmla="*/ 746441 w 1741682"/>
              <a:gd name="connsiteY52" fmla="*/ 157007 h 1758826"/>
              <a:gd name="connsiteX53" fmla="*/ 594041 w 1741682"/>
              <a:gd name="connsiteY53" fmla="*/ 17307 h 1758826"/>
              <a:gd name="connsiteX54" fmla="*/ 289241 w 1741682"/>
              <a:gd name="connsiteY54" fmla="*/ 23657 h 1758826"/>
              <a:gd name="connsiteX55" fmla="*/ 200341 w 1741682"/>
              <a:gd name="connsiteY55" fmla="*/ 1432 h 1758826"/>
              <a:gd name="connsiteX56" fmla="*/ 44766 w 1741682"/>
              <a:gd name="connsiteY56" fmla="*/ 71282 h 175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741682" h="1758826">
                <a:moveTo>
                  <a:pt x="44766" y="71282"/>
                </a:moveTo>
                <a:cubicBezTo>
                  <a:pt x="12487" y="104090"/>
                  <a:pt x="13016" y="168120"/>
                  <a:pt x="6666" y="198282"/>
                </a:cubicBezTo>
                <a:cubicBezTo>
                  <a:pt x="316" y="228444"/>
                  <a:pt x="-4447" y="237970"/>
                  <a:pt x="6666" y="252257"/>
                </a:cubicBezTo>
                <a:cubicBezTo>
                  <a:pt x="17778" y="266545"/>
                  <a:pt x="55349" y="265486"/>
                  <a:pt x="73341" y="284007"/>
                </a:cubicBezTo>
                <a:cubicBezTo>
                  <a:pt x="91333" y="302528"/>
                  <a:pt x="117262" y="344332"/>
                  <a:pt x="114616" y="363382"/>
                </a:cubicBezTo>
                <a:cubicBezTo>
                  <a:pt x="111970" y="382432"/>
                  <a:pt x="56408" y="383490"/>
                  <a:pt x="57466" y="398307"/>
                </a:cubicBezTo>
                <a:cubicBezTo>
                  <a:pt x="58524" y="413124"/>
                  <a:pt x="108795" y="430057"/>
                  <a:pt x="120966" y="452282"/>
                </a:cubicBezTo>
                <a:cubicBezTo>
                  <a:pt x="133137" y="474507"/>
                  <a:pt x="122554" y="510490"/>
                  <a:pt x="130491" y="531657"/>
                </a:cubicBezTo>
                <a:cubicBezTo>
                  <a:pt x="138429" y="552824"/>
                  <a:pt x="171766" y="560761"/>
                  <a:pt x="168591" y="579282"/>
                </a:cubicBezTo>
                <a:cubicBezTo>
                  <a:pt x="165416" y="597803"/>
                  <a:pt x="119379" y="621615"/>
                  <a:pt x="111441" y="642782"/>
                </a:cubicBezTo>
                <a:cubicBezTo>
                  <a:pt x="103504" y="663949"/>
                  <a:pt x="125728" y="692524"/>
                  <a:pt x="120966" y="706282"/>
                </a:cubicBezTo>
                <a:cubicBezTo>
                  <a:pt x="116204" y="720040"/>
                  <a:pt x="83395" y="716336"/>
                  <a:pt x="82866" y="725332"/>
                </a:cubicBezTo>
                <a:cubicBezTo>
                  <a:pt x="82337" y="734328"/>
                  <a:pt x="119378" y="750203"/>
                  <a:pt x="117791" y="760257"/>
                </a:cubicBezTo>
                <a:cubicBezTo>
                  <a:pt x="116204" y="770311"/>
                  <a:pt x="64345" y="773486"/>
                  <a:pt x="73341" y="785657"/>
                </a:cubicBezTo>
                <a:cubicBezTo>
                  <a:pt x="82337" y="797828"/>
                  <a:pt x="145837" y="809470"/>
                  <a:pt x="171766" y="833282"/>
                </a:cubicBezTo>
                <a:cubicBezTo>
                  <a:pt x="197695" y="857094"/>
                  <a:pt x="215687" y="896253"/>
                  <a:pt x="228916" y="928532"/>
                </a:cubicBezTo>
                <a:cubicBezTo>
                  <a:pt x="242145" y="960811"/>
                  <a:pt x="254316" y="997324"/>
                  <a:pt x="251141" y="1026957"/>
                </a:cubicBezTo>
                <a:cubicBezTo>
                  <a:pt x="247966" y="1056590"/>
                  <a:pt x="208808" y="1081990"/>
                  <a:pt x="209866" y="1106332"/>
                </a:cubicBezTo>
                <a:cubicBezTo>
                  <a:pt x="210924" y="1130674"/>
                  <a:pt x="280245" y="1144961"/>
                  <a:pt x="257491" y="1173007"/>
                </a:cubicBezTo>
                <a:cubicBezTo>
                  <a:pt x="234737" y="1201053"/>
                  <a:pt x="100328" y="1238624"/>
                  <a:pt x="73341" y="1274607"/>
                </a:cubicBezTo>
                <a:cubicBezTo>
                  <a:pt x="46354" y="1310590"/>
                  <a:pt x="84983" y="1341282"/>
                  <a:pt x="95566" y="1388907"/>
                </a:cubicBezTo>
                <a:cubicBezTo>
                  <a:pt x="106149" y="1436532"/>
                  <a:pt x="138428" y="1526490"/>
                  <a:pt x="136841" y="1560357"/>
                </a:cubicBezTo>
                <a:cubicBezTo>
                  <a:pt x="135254" y="1594224"/>
                  <a:pt x="68579" y="1559828"/>
                  <a:pt x="86041" y="1592107"/>
                </a:cubicBezTo>
                <a:cubicBezTo>
                  <a:pt x="103503" y="1624386"/>
                  <a:pt x="192403" y="1734453"/>
                  <a:pt x="241616" y="1754032"/>
                </a:cubicBezTo>
                <a:cubicBezTo>
                  <a:pt x="290829" y="1773611"/>
                  <a:pt x="333162" y="1728103"/>
                  <a:pt x="381316" y="1709582"/>
                </a:cubicBezTo>
                <a:cubicBezTo>
                  <a:pt x="429470" y="1691061"/>
                  <a:pt x="503554" y="1649786"/>
                  <a:pt x="530541" y="1642907"/>
                </a:cubicBezTo>
                <a:cubicBezTo>
                  <a:pt x="557528" y="1636028"/>
                  <a:pt x="521545" y="1656665"/>
                  <a:pt x="543241" y="1668307"/>
                </a:cubicBezTo>
                <a:cubicBezTo>
                  <a:pt x="564937" y="1679949"/>
                  <a:pt x="637433" y="1715932"/>
                  <a:pt x="660716" y="1712757"/>
                </a:cubicBezTo>
                <a:cubicBezTo>
                  <a:pt x="683999" y="1709582"/>
                  <a:pt x="655954" y="1660899"/>
                  <a:pt x="682941" y="1649257"/>
                </a:cubicBezTo>
                <a:cubicBezTo>
                  <a:pt x="709928" y="1637615"/>
                  <a:pt x="771841" y="1647669"/>
                  <a:pt x="822641" y="1642907"/>
                </a:cubicBezTo>
                <a:cubicBezTo>
                  <a:pt x="873441" y="1638145"/>
                  <a:pt x="934295" y="1656665"/>
                  <a:pt x="987741" y="1620682"/>
                </a:cubicBezTo>
                <a:cubicBezTo>
                  <a:pt x="1041187" y="1584699"/>
                  <a:pt x="1112624" y="1492094"/>
                  <a:pt x="1143316" y="1427007"/>
                </a:cubicBezTo>
                <a:cubicBezTo>
                  <a:pt x="1174008" y="1361920"/>
                  <a:pt x="1139612" y="1264553"/>
                  <a:pt x="1171891" y="1230157"/>
                </a:cubicBezTo>
                <a:cubicBezTo>
                  <a:pt x="1204170" y="1195761"/>
                  <a:pt x="1285662" y="1219045"/>
                  <a:pt x="1336991" y="1220632"/>
                </a:cubicBezTo>
                <a:cubicBezTo>
                  <a:pt x="1388320" y="1222219"/>
                  <a:pt x="1422716" y="1287836"/>
                  <a:pt x="1479866" y="1239682"/>
                </a:cubicBezTo>
                <a:cubicBezTo>
                  <a:pt x="1537016" y="1191528"/>
                  <a:pt x="1636499" y="998911"/>
                  <a:pt x="1679891" y="931707"/>
                </a:cubicBezTo>
                <a:cubicBezTo>
                  <a:pt x="1723283" y="864503"/>
                  <a:pt x="1748154" y="862915"/>
                  <a:pt x="1740216" y="836457"/>
                </a:cubicBezTo>
                <a:cubicBezTo>
                  <a:pt x="1732278" y="809999"/>
                  <a:pt x="1643908" y="794124"/>
                  <a:pt x="1632266" y="772957"/>
                </a:cubicBezTo>
                <a:cubicBezTo>
                  <a:pt x="1620624" y="751790"/>
                  <a:pt x="1674599" y="719511"/>
                  <a:pt x="1670366" y="709457"/>
                </a:cubicBezTo>
                <a:cubicBezTo>
                  <a:pt x="1666133" y="699403"/>
                  <a:pt x="1624328" y="720040"/>
                  <a:pt x="1606866" y="712632"/>
                </a:cubicBezTo>
                <a:cubicBezTo>
                  <a:pt x="1589404" y="705224"/>
                  <a:pt x="1598399" y="659186"/>
                  <a:pt x="1565591" y="665007"/>
                </a:cubicBezTo>
                <a:cubicBezTo>
                  <a:pt x="1532783" y="670828"/>
                  <a:pt x="1467166" y="738561"/>
                  <a:pt x="1410016" y="747557"/>
                </a:cubicBezTo>
                <a:cubicBezTo>
                  <a:pt x="1352866" y="756553"/>
                  <a:pt x="1267670" y="730624"/>
                  <a:pt x="1222691" y="718982"/>
                </a:cubicBezTo>
                <a:cubicBezTo>
                  <a:pt x="1177712" y="707340"/>
                  <a:pt x="1147549" y="690936"/>
                  <a:pt x="1140141" y="677707"/>
                </a:cubicBezTo>
                <a:cubicBezTo>
                  <a:pt x="1132733" y="664478"/>
                  <a:pt x="1188295" y="659186"/>
                  <a:pt x="1178241" y="639607"/>
                </a:cubicBezTo>
                <a:cubicBezTo>
                  <a:pt x="1168187" y="620028"/>
                  <a:pt x="1130616" y="572932"/>
                  <a:pt x="1079816" y="560232"/>
                </a:cubicBezTo>
                <a:cubicBezTo>
                  <a:pt x="1029016" y="547532"/>
                  <a:pt x="901487" y="575578"/>
                  <a:pt x="873441" y="563407"/>
                </a:cubicBezTo>
                <a:cubicBezTo>
                  <a:pt x="845395" y="551236"/>
                  <a:pt x="916833" y="504669"/>
                  <a:pt x="911541" y="487207"/>
                </a:cubicBezTo>
                <a:cubicBezTo>
                  <a:pt x="906249" y="469745"/>
                  <a:pt x="856508" y="475036"/>
                  <a:pt x="841691" y="458632"/>
                </a:cubicBezTo>
                <a:cubicBezTo>
                  <a:pt x="826874" y="442228"/>
                  <a:pt x="828462" y="403599"/>
                  <a:pt x="822641" y="388782"/>
                </a:cubicBezTo>
                <a:cubicBezTo>
                  <a:pt x="816820" y="373965"/>
                  <a:pt x="812058" y="413124"/>
                  <a:pt x="806766" y="369732"/>
                </a:cubicBezTo>
                <a:cubicBezTo>
                  <a:pt x="801474" y="326340"/>
                  <a:pt x="800945" y="163886"/>
                  <a:pt x="790891" y="128432"/>
                </a:cubicBezTo>
                <a:cubicBezTo>
                  <a:pt x="780837" y="92978"/>
                  <a:pt x="779249" y="175528"/>
                  <a:pt x="746441" y="157007"/>
                </a:cubicBezTo>
                <a:cubicBezTo>
                  <a:pt x="713633" y="138486"/>
                  <a:pt x="670241" y="39532"/>
                  <a:pt x="594041" y="17307"/>
                </a:cubicBezTo>
                <a:cubicBezTo>
                  <a:pt x="517841" y="-4918"/>
                  <a:pt x="354858" y="26303"/>
                  <a:pt x="289241" y="23657"/>
                </a:cubicBezTo>
                <a:cubicBezTo>
                  <a:pt x="223624" y="21011"/>
                  <a:pt x="238970" y="-6506"/>
                  <a:pt x="200341" y="1432"/>
                </a:cubicBezTo>
                <a:cubicBezTo>
                  <a:pt x="161712" y="9369"/>
                  <a:pt x="77045" y="38474"/>
                  <a:pt x="44766" y="71282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 dirty="0"/>
          </a:p>
        </p:txBody>
      </p:sp>
      <p:sp>
        <p:nvSpPr>
          <p:cNvPr id="11" name="TextBox 10"/>
          <p:cNvSpPr txBox="1"/>
          <p:nvPr/>
        </p:nvSpPr>
        <p:spPr>
          <a:xfrm>
            <a:off x="5397964" y="2019396"/>
            <a:ext cx="58117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Київ</a:t>
            </a:r>
          </a:p>
        </p:txBody>
      </p:sp>
      <p:sp>
        <p:nvSpPr>
          <p:cNvPr id="12" name="Полілінія 11"/>
          <p:cNvSpPr/>
          <p:nvPr/>
        </p:nvSpPr>
        <p:spPr>
          <a:xfrm>
            <a:off x="1914606" y="1798216"/>
            <a:ext cx="1365218" cy="1104078"/>
          </a:xfrm>
          <a:custGeom>
            <a:avLst/>
            <a:gdLst>
              <a:gd name="connsiteX0" fmla="*/ 1013466 w 1767620"/>
              <a:gd name="connsiteY0" fmla="*/ 5504 h 1429508"/>
              <a:gd name="connsiteX1" fmla="*/ 902341 w 1767620"/>
              <a:gd name="connsiteY1" fmla="*/ 186479 h 1429508"/>
              <a:gd name="connsiteX2" fmla="*/ 791216 w 1767620"/>
              <a:gd name="connsiteY2" fmla="*/ 180129 h 1429508"/>
              <a:gd name="connsiteX3" fmla="*/ 121291 w 1767620"/>
              <a:gd name="connsiteY3" fmla="*/ 710354 h 1429508"/>
              <a:gd name="connsiteX4" fmla="*/ 641 w 1767620"/>
              <a:gd name="connsiteY4" fmla="*/ 738929 h 1429508"/>
              <a:gd name="connsiteX5" fmla="*/ 76841 w 1767620"/>
              <a:gd name="connsiteY5" fmla="*/ 1189779 h 1429508"/>
              <a:gd name="connsiteX6" fmla="*/ 149866 w 1767620"/>
              <a:gd name="connsiteY6" fmla="*/ 1310429 h 1429508"/>
              <a:gd name="connsiteX7" fmla="*/ 264166 w 1767620"/>
              <a:gd name="connsiteY7" fmla="*/ 1310429 h 1429508"/>
              <a:gd name="connsiteX8" fmla="*/ 270516 w 1767620"/>
              <a:gd name="connsiteY8" fmla="*/ 1396154 h 1429508"/>
              <a:gd name="connsiteX9" fmla="*/ 489591 w 1767620"/>
              <a:gd name="connsiteY9" fmla="*/ 1424729 h 1429508"/>
              <a:gd name="connsiteX10" fmla="*/ 486416 w 1767620"/>
              <a:gd name="connsiteY10" fmla="*/ 1304079 h 1429508"/>
              <a:gd name="connsiteX11" fmla="*/ 629291 w 1767620"/>
              <a:gd name="connsiteY11" fmla="*/ 1158029 h 1429508"/>
              <a:gd name="connsiteX12" fmla="*/ 1089666 w 1767620"/>
              <a:gd name="connsiteY12" fmla="*/ 1123104 h 1429508"/>
              <a:gd name="connsiteX13" fmla="*/ 1003941 w 1767620"/>
              <a:gd name="connsiteY13" fmla="*/ 1053254 h 1429508"/>
              <a:gd name="connsiteX14" fmla="*/ 1080141 w 1767620"/>
              <a:gd name="connsiteY14" fmla="*/ 964354 h 1429508"/>
              <a:gd name="connsiteX15" fmla="*/ 1108716 w 1767620"/>
              <a:gd name="connsiteY15" fmla="*/ 878629 h 1429508"/>
              <a:gd name="connsiteX16" fmla="*/ 1289691 w 1767620"/>
              <a:gd name="connsiteY16" fmla="*/ 897679 h 1429508"/>
              <a:gd name="connsiteX17" fmla="*/ 1470666 w 1767620"/>
              <a:gd name="connsiteY17" fmla="*/ 751629 h 1429508"/>
              <a:gd name="connsiteX18" fmla="*/ 1534166 w 1767620"/>
              <a:gd name="connsiteY18" fmla="*/ 745279 h 1429508"/>
              <a:gd name="connsiteX19" fmla="*/ 1540516 w 1767620"/>
              <a:gd name="connsiteY19" fmla="*/ 662729 h 1429508"/>
              <a:gd name="connsiteX20" fmla="*/ 1721491 w 1767620"/>
              <a:gd name="connsiteY20" fmla="*/ 650029 h 1429508"/>
              <a:gd name="connsiteX21" fmla="*/ 1762766 w 1767620"/>
              <a:gd name="connsiteY21" fmla="*/ 589704 h 1429508"/>
              <a:gd name="connsiteX22" fmla="*/ 1750066 w 1767620"/>
              <a:gd name="connsiteY22" fmla="*/ 494454 h 1429508"/>
              <a:gd name="connsiteX23" fmla="*/ 1613541 w 1767620"/>
              <a:gd name="connsiteY23" fmla="*/ 456354 h 1429508"/>
              <a:gd name="connsiteX24" fmla="*/ 1632591 w 1767620"/>
              <a:gd name="connsiteY24" fmla="*/ 373804 h 1429508"/>
              <a:gd name="connsiteX25" fmla="*/ 1629416 w 1767620"/>
              <a:gd name="connsiteY25" fmla="*/ 316654 h 1429508"/>
              <a:gd name="connsiteX26" fmla="*/ 1569091 w 1767620"/>
              <a:gd name="connsiteY26" fmla="*/ 313479 h 1429508"/>
              <a:gd name="connsiteX27" fmla="*/ 1569091 w 1767620"/>
              <a:gd name="connsiteY27" fmla="*/ 259504 h 1429508"/>
              <a:gd name="connsiteX28" fmla="*/ 1397641 w 1767620"/>
              <a:gd name="connsiteY28" fmla="*/ 240454 h 1429508"/>
              <a:gd name="connsiteX29" fmla="*/ 1270641 w 1767620"/>
              <a:gd name="connsiteY29" fmla="*/ 176954 h 1429508"/>
              <a:gd name="connsiteX30" fmla="*/ 1207141 w 1767620"/>
              <a:gd name="connsiteY30" fmla="*/ 183304 h 1429508"/>
              <a:gd name="connsiteX31" fmla="*/ 1184916 w 1767620"/>
              <a:gd name="connsiteY31" fmla="*/ 142029 h 1429508"/>
              <a:gd name="connsiteX32" fmla="*/ 1251591 w 1767620"/>
              <a:gd name="connsiteY32" fmla="*/ 94404 h 1429508"/>
              <a:gd name="connsiteX33" fmla="*/ 1184916 w 1767620"/>
              <a:gd name="connsiteY33" fmla="*/ 49954 h 1429508"/>
              <a:gd name="connsiteX34" fmla="*/ 1048391 w 1767620"/>
              <a:gd name="connsiteY34" fmla="*/ 46779 h 1429508"/>
              <a:gd name="connsiteX35" fmla="*/ 1013466 w 1767620"/>
              <a:gd name="connsiteY35" fmla="*/ 5504 h 1429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767620" h="1429508">
                <a:moveTo>
                  <a:pt x="1013466" y="5504"/>
                </a:moveTo>
                <a:cubicBezTo>
                  <a:pt x="989124" y="28787"/>
                  <a:pt x="939383" y="157375"/>
                  <a:pt x="902341" y="186479"/>
                </a:cubicBezTo>
                <a:cubicBezTo>
                  <a:pt x="865299" y="215583"/>
                  <a:pt x="921391" y="92817"/>
                  <a:pt x="791216" y="180129"/>
                </a:cubicBezTo>
                <a:cubicBezTo>
                  <a:pt x="661041" y="267442"/>
                  <a:pt x="253053" y="617221"/>
                  <a:pt x="121291" y="710354"/>
                </a:cubicBezTo>
                <a:cubicBezTo>
                  <a:pt x="-10471" y="803487"/>
                  <a:pt x="8049" y="659025"/>
                  <a:pt x="641" y="738929"/>
                </a:cubicBezTo>
                <a:cubicBezTo>
                  <a:pt x="-6767" y="818833"/>
                  <a:pt x="51970" y="1094529"/>
                  <a:pt x="76841" y="1189779"/>
                </a:cubicBezTo>
                <a:cubicBezTo>
                  <a:pt x="101712" y="1285029"/>
                  <a:pt x="118645" y="1290321"/>
                  <a:pt x="149866" y="1310429"/>
                </a:cubicBezTo>
                <a:cubicBezTo>
                  <a:pt x="181087" y="1330537"/>
                  <a:pt x="244058" y="1296142"/>
                  <a:pt x="264166" y="1310429"/>
                </a:cubicBezTo>
                <a:cubicBezTo>
                  <a:pt x="284274" y="1324716"/>
                  <a:pt x="232945" y="1377104"/>
                  <a:pt x="270516" y="1396154"/>
                </a:cubicBezTo>
                <a:cubicBezTo>
                  <a:pt x="308087" y="1415204"/>
                  <a:pt x="453608" y="1440075"/>
                  <a:pt x="489591" y="1424729"/>
                </a:cubicBezTo>
                <a:cubicBezTo>
                  <a:pt x="525574" y="1409383"/>
                  <a:pt x="463133" y="1348529"/>
                  <a:pt x="486416" y="1304079"/>
                </a:cubicBezTo>
                <a:cubicBezTo>
                  <a:pt x="509699" y="1259629"/>
                  <a:pt x="528749" y="1188191"/>
                  <a:pt x="629291" y="1158029"/>
                </a:cubicBezTo>
                <a:cubicBezTo>
                  <a:pt x="729833" y="1127867"/>
                  <a:pt x="1027224" y="1140566"/>
                  <a:pt x="1089666" y="1123104"/>
                </a:cubicBezTo>
                <a:cubicBezTo>
                  <a:pt x="1152108" y="1105642"/>
                  <a:pt x="1005528" y="1079712"/>
                  <a:pt x="1003941" y="1053254"/>
                </a:cubicBezTo>
                <a:cubicBezTo>
                  <a:pt x="1002353" y="1026796"/>
                  <a:pt x="1062678" y="993458"/>
                  <a:pt x="1080141" y="964354"/>
                </a:cubicBezTo>
                <a:cubicBezTo>
                  <a:pt x="1097604" y="935250"/>
                  <a:pt x="1073791" y="889742"/>
                  <a:pt x="1108716" y="878629"/>
                </a:cubicBezTo>
                <a:cubicBezTo>
                  <a:pt x="1143641" y="867517"/>
                  <a:pt x="1229366" y="918846"/>
                  <a:pt x="1289691" y="897679"/>
                </a:cubicBezTo>
                <a:cubicBezTo>
                  <a:pt x="1350016" y="876512"/>
                  <a:pt x="1429920" y="777029"/>
                  <a:pt x="1470666" y="751629"/>
                </a:cubicBezTo>
                <a:cubicBezTo>
                  <a:pt x="1511412" y="726229"/>
                  <a:pt x="1522524" y="760095"/>
                  <a:pt x="1534166" y="745279"/>
                </a:cubicBezTo>
                <a:cubicBezTo>
                  <a:pt x="1545808" y="730463"/>
                  <a:pt x="1509295" y="678604"/>
                  <a:pt x="1540516" y="662729"/>
                </a:cubicBezTo>
                <a:cubicBezTo>
                  <a:pt x="1571737" y="646854"/>
                  <a:pt x="1684450" y="662200"/>
                  <a:pt x="1721491" y="650029"/>
                </a:cubicBezTo>
                <a:cubicBezTo>
                  <a:pt x="1758532" y="637858"/>
                  <a:pt x="1758004" y="615633"/>
                  <a:pt x="1762766" y="589704"/>
                </a:cubicBezTo>
                <a:cubicBezTo>
                  <a:pt x="1767528" y="563775"/>
                  <a:pt x="1774937" y="516679"/>
                  <a:pt x="1750066" y="494454"/>
                </a:cubicBezTo>
                <a:cubicBezTo>
                  <a:pt x="1725195" y="472229"/>
                  <a:pt x="1633120" y="476462"/>
                  <a:pt x="1613541" y="456354"/>
                </a:cubicBezTo>
                <a:cubicBezTo>
                  <a:pt x="1593962" y="436246"/>
                  <a:pt x="1629945" y="397087"/>
                  <a:pt x="1632591" y="373804"/>
                </a:cubicBezTo>
                <a:cubicBezTo>
                  <a:pt x="1635237" y="350521"/>
                  <a:pt x="1639999" y="326708"/>
                  <a:pt x="1629416" y="316654"/>
                </a:cubicBezTo>
                <a:cubicBezTo>
                  <a:pt x="1618833" y="306600"/>
                  <a:pt x="1579145" y="323004"/>
                  <a:pt x="1569091" y="313479"/>
                </a:cubicBezTo>
                <a:cubicBezTo>
                  <a:pt x="1559037" y="303954"/>
                  <a:pt x="1597666" y="271675"/>
                  <a:pt x="1569091" y="259504"/>
                </a:cubicBezTo>
                <a:cubicBezTo>
                  <a:pt x="1540516" y="247333"/>
                  <a:pt x="1447383" y="254212"/>
                  <a:pt x="1397641" y="240454"/>
                </a:cubicBezTo>
                <a:cubicBezTo>
                  <a:pt x="1347899" y="226696"/>
                  <a:pt x="1302391" y="186479"/>
                  <a:pt x="1270641" y="176954"/>
                </a:cubicBezTo>
                <a:cubicBezTo>
                  <a:pt x="1238891" y="167429"/>
                  <a:pt x="1221428" y="189125"/>
                  <a:pt x="1207141" y="183304"/>
                </a:cubicBezTo>
                <a:cubicBezTo>
                  <a:pt x="1192854" y="177483"/>
                  <a:pt x="1177508" y="156846"/>
                  <a:pt x="1184916" y="142029"/>
                </a:cubicBezTo>
                <a:cubicBezTo>
                  <a:pt x="1192324" y="127212"/>
                  <a:pt x="1251591" y="109750"/>
                  <a:pt x="1251591" y="94404"/>
                </a:cubicBezTo>
                <a:cubicBezTo>
                  <a:pt x="1251591" y="79058"/>
                  <a:pt x="1218783" y="57892"/>
                  <a:pt x="1184916" y="49954"/>
                </a:cubicBezTo>
                <a:cubicBezTo>
                  <a:pt x="1151049" y="42017"/>
                  <a:pt x="1074849" y="53658"/>
                  <a:pt x="1048391" y="46779"/>
                </a:cubicBezTo>
                <a:cubicBezTo>
                  <a:pt x="1021933" y="39900"/>
                  <a:pt x="1037808" y="-17779"/>
                  <a:pt x="1013466" y="5504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13" name="TextBox 12"/>
          <p:cNvSpPr txBox="1"/>
          <p:nvPr/>
        </p:nvSpPr>
        <p:spPr>
          <a:xfrm>
            <a:off x="2272609" y="2199363"/>
            <a:ext cx="711227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Львів</a:t>
            </a:r>
          </a:p>
        </p:txBody>
      </p:sp>
      <p:sp>
        <p:nvSpPr>
          <p:cNvPr id="14" name="Полілінія 13"/>
          <p:cNvSpPr/>
          <p:nvPr/>
        </p:nvSpPr>
        <p:spPr>
          <a:xfrm>
            <a:off x="1564343" y="2640812"/>
            <a:ext cx="1199233" cy="744809"/>
          </a:xfrm>
          <a:custGeom>
            <a:avLst/>
            <a:gdLst>
              <a:gd name="connsiteX0" fmla="*/ 476272 w 1552710"/>
              <a:gd name="connsiteY0" fmla="*/ 39738 h 964344"/>
              <a:gd name="connsiteX1" fmla="*/ 323872 w 1552710"/>
              <a:gd name="connsiteY1" fmla="*/ 1638 h 964344"/>
              <a:gd name="connsiteX2" fmla="*/ 295297 w 1552710"/>
              <a:gd name="connsiteY2" fmla="*/ 87363 h 964344"/>
              <a:gd name="connsiteX3" fmla="*/ 171472 w 1552710"/>
              <a:gd name="connsiteY3" fmla="*/ 177851 h 964344"/>
              <a:gd name="connsiteX4" fmla="*/ 166709 w 1552710"/>
              <a:gd name="connsiteY4" fmla="*/ 292151 h 964344"/>
              <a:gd name="connsiteX5" fmla="*/ 47647 w 1552710"/>
              <a:gd name="connsiteY5" fmla="*/ 373113 h 964344"/>
              <a:gd name="connsiteX6" fmla="*/ 22 w 1552710"/>
              <a:gd name="connsiteY6" fmla="*/ 468363 h 964344"/>
              <a:gd name="connsiteX7" fmla="*/ 52409 w 1552710"/>
              <a:gd name="connsiteY7" fmla="*/ 520751 h 964344"/>
              <a:gd name="connsiteX8" fmla="*/ 100034 w 1552710"/>
              <a:gd name="connsiteY8" fmla="*/ 606476 h 964344"/>
              <a:gd name="connsiteX9" fmla="*/ 228622 w 1552710"/>
              <a:gd name="connsiteY9" fmla="*/ 654101 h 964344"/>
              <a:gd name="connsiteX10" fmla="*/ 285772 w 1552710"/>
              <a:gd name="connsiteY10" fmla="*/ 758876 h 964344"/>
              <a:gd name="connsiteX11" fmla="*/ 338159 w 1552710"/>
              <a:gd name="connsiteY11" fmla="*/ 739826 h 964344"/>
              <a:gd name="connsiteX12" fmla="*/ 395309 w 1552710"/>
              <a:gd name="connsiteY12" fmla="*/ 787451 h 964344"/>
              <a:gd name="connsiteX13" fmla="*/ 400072 w 1552710"/>
              <a:gd name="connsiteY13" fmla="*/ 873176 h 964344"/>
              <a:gd name="connsiteX14" fmla="*/ 533422 w 1552710"/>
              <a:gd name="connsiteY14" fmla="*/ 858888 h 964344"/>
              <a:gd name="connsiteX15" fmla="*/ 609622 w 1552710"/>
              <a:gd name="connsiteY15" fmla="*/ 796976 h 964344"/>
              <a:gd name="connsiteX16" fmla="*/ 671534 w 1552710"/>
              <a:gd name="connsiteY16" fmla="*/ 801738 h 964344"/>
              <a:gd name="connsiteX17" fmla="*/ 766784 w 1552710"/>
              <a:gd name="connsiteY17" fmla="*/ 887463 h 964344"/>
              <a:gd name="connsiteX18" fmla="*/ 990622 w 1552710"/>
              <a:gd name="connsiteY18" fmla="*/ 887463 h 964344"/>
              <a:gd name="connsiteX19" fmla="*/ 1076347 w 1552710"/>
              <a:gd name="connsiteY19" fmla="*/ 939851 h 964344"/>
              <a:gd name="connsiteX20" fmla="*/ 1171597 w 1552710"/>
              <a:gd name="connsiteY20" fmla="*/ 954138 h 964344"/>
              <a:gd name="connsiteX21" fmla="*/ 1457347 w 1552710"/>
              <a:gd name="connsiteY21" fmla="*/ 963663 h 964344"/>
              <a:gd name="connsiteX22" fmla="*/ 1462109 w 1552710"/>
              <a:gd name="connsiteY22" fmla="*/ 935088 h 964344"/>
              <a:gd name="connsiteX23" fmla="*/ 1552597 w 1552710"/>
              <a:gd name="connsiteY23" fmla="*/ 892226 h 964344"/>
              <a:gd name="connsiteX24" fmla="*/ 1481159 w 1552710"/>
              <a:gd name="connsiteY24" fmla="*/ 796976 h 964344"/>
              <a:gd name="connsiteX25" fmla="*/ 1490684 w 1552710"/>
              <a:gd name="connsiteY25" fmla="*/ 754113 h 964344"/>
              <a:gd name="connsiteX26" fmla="*/ 1476397 w 1552710"/>
              <a:gd name="connsiteY26" fmla="*/ 739826 h 964344"/>
              <a:gd name="connsiteX27" fmla="*/ 1376384 w 1552710"/>
              <a:gd name="connsiteY27" fmla="*/ 625526 h 964344"/>
              <a:gd name="connsiteX28" fmla="*/ 1271609 w 1552710"/>
              <a:gd name="connsiteY28" fmla="*/ 639813 h 964344"/>
              <a:gd name="connsiteX29" fmla="*/ 1271609 w 1552710"/>
              <a:gd name="connsiteY29" fmla="*/ 511226 h 964344"/>
              <a:gd name="connsiteX30" fmla="*/ 1123972 w 1552710"/>
              <a:gd name="connsiteY30" fmla="*/ 530276 h 964344"/>
              <a:gd name="connsiteX31" fmla="*/ 1109684 w 1552710"/>
              <a:gd name="connsiteY31" fmla="*/ 487413 h 964344"/>
              <a:gd name="connsiteX32" fmla="*/ 1076347 w 1552710"/>
              <a:gd name="connsiteY32" fmla="*/ 473126 h 964344"/>
              <a:gd name="connsiteX33" fmla="*/ 1052534 w 1552710"/>
              <a:gd name="connsiteY33" fmla="*/ 430263 h 964344"/>
              <a:gd name="connsiteX34" fmla="*/ 1033484 w 1552710"/>
              <a:gd name="connsiteY34" fmla="*/ 392163 h 964344"/>
              <a:gd name="connsiteX35" fmla="*/ 985859 w 1552710"/>
              <a:gd name="connsiteY35" fmla="*/ 387401 h 964344"/>
              <a:gd name="connsiteX36" fmla="*/ 919184 w 1552710"/>
              <a:gd name="connsiteY36" fmla="*/ 320726 h 964344"/>
              <a:gd name="connsiteX37" fmla="*/ 690584 w 1552710"/>
              <a:gd name="connsiteY37" fmla="*/ 277863 h 964344"/>
              <a:gd name="connsiteX38" fmla="*/ 666772 w 1552710"/>
              <a:gd name="connsiteY38" fmla="*/ 263576 h 964344"/>
              <a:gd name="connsiteX39" fmla="*/ 681059 w 1552710"/>
              <a:gd name="connsiteY39" fmla="*/ 206426 h 964344"/>
              <a:gd name="connsiteX40" fmla="*/ 585809 w 1552710"/>
              <a:gd name="connsiteY40" fmla="*/ 201663 h 964344"/>
              <a:gd name="connsiteX41" fmla="*/ 504847 w 1552710"/>
              <a:gd name="connsiteY41" fmla="*/ 144513 h 964344"/>
              <a:gd name="connsiteX42" fmla="*/ 476272 w 1552710"/>
              <a:gd name="connsiteY42" fmla="*/ 39738 h 96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552710" h="964344">
                <a:moveTo>
                  <a:pt x="476272" y="39738"/>
                </a:moveTo>
                <a:cubicBezTo>
                  <a:pt x="446110" y="15926"/>
                  <a:pt x="354035" y="-6300"/>
                  <a:pt x="323872" y="1638"/>
                </a:cubicBezTo>
                <a:cubicBezTo>
                  <a:pt x="293709" y="9576"/>
                  <a:pt x="320697" y="57994"/>
                  <a:pt x="295297" y="87363"/>
                </a:cubicBezTo>
                <a:cubicBezTo>
                  <a:pt x="269897" y="116732"/>
                  <a:pt x="192903" y="143720"/>
                  <a:pt x="171472" y="177851"/>
                </a:cubicBezTo>
                <a:cubicBezTo>
                  <a:pt x="150041" y="211982"/>
                  <a:pt x="187346" y="259607"/>
                  <a:pt x="166709" y="292151"/>
                </a:cubicBezTo>
                <a:cubicBezTo>
                  <a:pt x="146071" y="324695"/>
                  <a:pt x="75428" y="343744"/>
                  <a:pt x="47647" y="373113"/>
                </a:cubicBezTo>
                <a:cubicBezTo>
                  <a:pt x="19866" y="402482"/>
                  <a:pt x="-772" y="443757"/>
                  <a:pt x="22" y="468363"/>
                </a:cubicBezTo>
                <a:cubicBezTo>
                  <a:pt x="816" y="492969"/>
                  <a:pt x="35740" y="497732"/>
                  <a:pt x="52409" y="520751"/>
                </a:cubicBezTo>
                <a:cubicBezTo>
                  <a:pt x="69078" y="543770"/>
                  <a:pt x="70665" y="584251"/>
                  <a:pt x="100034" y="606476"/>
                </a:cubicBezTo>
                <a:cubicBezTo>
                  <a:pt x="129403" y="628701"/>
                  <a:pt x="197666" y="628701"/>
                  <a:pt x="228622" y="654101"/>
                </a:cubicBezTo>
                <a:cubicBezTo>
                  <a:pt x="259578" y="679501"/>
                  <a:pt x="267516" y="744589"/>
                  <a:pt x="285772" y="758876"/>
                </a:cubicBezTo>
                <a:cubicBezTo>
                  <a:pt x="304028" y="773163"/>
                  <a:pt x="319903" y="735064"/>
                  <a:pt x="338159" y="739826"/>
                </a:cubicBezTo>
                <a:cubicBezTo>
                  <a:pt x="356415" y="744588"/>
                  <a:pt x="384990" y="765226"/>
                  <a:pt x="395309" y="787451"/>
                </a:cubicBezTo>
                <a:cubicBezTo>
                  <a:pt x="405628" y="809676"/>
                  <a:pt x="377053" y="861270"/>
                  <a:pt x="400072" y="873176"/>
                </a:cubicBezTo>
                <a:cubicBezTo>
                  <a:pt x="423091" y="885082"/>
                  <a:pt x="498497" y="871588"/>
                  <a:pt x="533422" y="858888"/>
                </a:cubicBezTo>
                <a:cubicBezTo>
                  <a:pt x="568347" y="846188"/>
                  <a:pt x="586603" y="806501"/>
                  <a:pt x="609622" y="796976"/>
                </a:cubicBezTo>
                <a:cubicBezTo>
                  <a:pt x="632641" y="787451"/>
                  <a:pt x="645340" y="786657"/>
                  <a:pt x="671534" y="801738"/>
                </a:cubicBezTo>
                <a:cubicBezTo>
                  <a:pt x="697728" y="816819"/>
                  <a:pt x="713603" y="873176"/>
                  <a:pt x="766784" y="887463"/>
                </a:cubicBezTo>
                <a:cubicBezTo>
                  <a:pt x="819965" y="901750"/>
                  <a:pt x="939028" y="878732"/>
                  <a:pt x="990622" y="887463"/>
                </a:cubicBezTo>
                <a:cubicBezTo>
                  <a:pt x="1042216" y="896194"/>
                  <a:pt x="1046185" y="928739"/>
                  <a:pt x="1076347" y="939851"/>
                </a:cubicBezTo>
                <a:cubicBezTo>
                  <a:pt x="1106509" y="950963"/>
                  <a:pt x="1108097" y="950169"/>
                  <a:pt x="1171597" y="954138"/>
                </a:cubicBezTo>
                <a:cubicBezTo>
                  <a:pt x="1235097" y="958107"/>
                  <a:pt x="1408928" y="966838"/>
                  <a:pt x="1457347" y="963663"/>
                </a:cubicBezTo>
                <a:cubicBezTo>
                  <a:pt x="1505766" y="960488"/>
                  <a:pt x="1446234" y="946994"/>
                  <a:pt x="1462109" y="935088"/>
                </a:cubicBezTo>
                <a:cubicBezTo>
                  <a:pt x="1477984" y="923182"/>
                  <a:pt x="1549422" y="915245"/>
                  <a:pt x="1552597" y="892226"/>
                </a:cubicBezTo>
                <a:cubicBezTo>
                  <a:pt x="1555772" y="869207"/>
                  <a:pt x="1491478" y="819995"/>
                  <a:pt x="1481159" y="796976"/>
                </a:cubicBezTo>
                <a:cubicBezTo>
                  <a:pt x="1470840" y="773957"/>
                  <a:pt x="1490684" y="754113"/>
                  <a:pt x="1490684" y="754113"/>
                </a:cubicBezTo>
                <a:cubicBezTo>
                  <a:pt x="1489890" y="744588"/>
                  <a:pt x="1495447" y="761257"/>
                  <a:pt x="1476397" y="739826"/>
                </a:cubicBezTo>
                <a:cubicBezTo>
                  <a:pt x="1457347" y="718395"/>
                  <a:pt x="1410515" y="642195"/>
                  <a:pt x="1376384" y="625526"/>
                </a:cubicBezTo>
                <a:cubicBezTo>
                  <a:pt x="1342253" y="608857"/>
                  <a:pt x="1289071" y="658863"/>
                  <a:pt x="1271609" y="639813"/>
                </a:cubicBezTo>
                <a:cubicBezTo>
                  <a:pt x="1254147" y="620763"/>
                  <a:pt x="1296215" y="529482"/>
                  <a:pt x="1271609" y="511226"/>
                </a:cubicBezTo>
                <a:cubicBezTo>
                  <a:pt x="1247003" y="492970"/>
                  <a:pt x="1150960" y="534245"/>
                  <a:pt x="1123972" y="530276"/>
                </a:cubicBezTo>
                <a:cubicBezTo>
                  <a:pt x="1096985" y="526307"/>
                  <a:pt x="1117621" y="496938"/>
                  <a:pt x="1109684" y="487413"/>
                </a:cubicBezTo>
                <a:cubicBezTo>
                  <a:pt x="1101747" y="477888"/>
                  <a:pt x="1085872" y="482651"/>
                  <a:pt x="1076347" y="473126"/>
                </a:cubicBezTo>
                <a:cubicBezTo>
                  <a:pt x="1066822" y="463601"/>
                  <a:pt x="1059678" y="443757"/>
                  <a:pt x="1052534" y="430263"/>
                </a:cubicBezTo>
                <a:cubicBezTo>
                  <a:pt x="1045390" y="416769"/>
                  <a:pt x="1044597" y="399307"/>
                  <a:pt x="1033484" y="392163"/>
                </a:cubicBezTo>
                <a:cubicBezTo>
                  <a:pt x="1022372" y="385019"/>
                  <a:pt x="1004909" y="399307"/>
                  <a:pt x="985859" y="387401"/>
                </a:cubicBezTo>
                <a:cubicBezTo>
                  <a:pt x="966809" y="375495"/>
                  <a:pt x="968396" y="338982"/>
                  <a:pt x="919184" y="320726"/>
                </a:cubicBezTo>
                <a:cubicBezTo>
                  <a:pt x="869972" y="302470"/>
                  <a:pt x="732653" y="287388"/>
                  <a:pt x="690584" y="277863"/>
                </a:cubicBezTo>
                <a:cubicBezTo>
                  <a:pt x="648515" y="268338"/>
                  <a:pt x="668359" y="275482"/>
                  <a:pt x="666772" y="263576"/>
                </a:cubicBezTo>
                <a:cubicBezTo>
                  <a:pt x="665185" y="251670"/>
                  <a:pt x="694553" y="216745"/>
                  <a:pt x="681059" y="206426"/>
                </a:cubicBezTo>
                <a:cubicBezTo>
                  <a:pt x="667565" y="196107"/>
                  <a:pt x="615178" y="211982"/>
                  <a:pt x="585809" y="201663"/>
                </a:cubicBezTo>
                <a:cubicBezTo>
                  <a:pt x="556440" y="191344"/>
                  <a:pt x="519928" y="165944"/>
                  <a:pt x="504847" y="144513"/>
                </a:cubicBezTo>
                <a:cubicBezTo>
                  <a:pt x="489766" y="123082"/>
                  <a:pt x="506434" y="63550"/>
                  <a:pt x="476272" y="39738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15" name="TextBox 14"/>
          <p:cNvSpPr txBox="1"/>
          <p:nvPr/>
        </p:nvSpPr>
        <p:spPr>
          <a:xfrm>
            <a:off x="1614562" y="2925425"/>
            <a:ext cx="774496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Ужгород</a:t>
            </a:r>
          </a:p>
        </p:txBody>
      </p:sp>
      <p:sp>
        <p:nvSpPr>
          <p:cNvPr id="16" name="Полілінія 15"/>
          <p:cNvSpPr/>
          <p:nvPr/>
        </p:nvSpPr>
        <p:spPr>
          <a:xfrm>
            <a:off x="2280444" y="2482143"/>
            <a:ext cx="1025959" cy="1062147"/>
          </a:xfrm>
          <a:custGeom>
            <a:avLst/>
            <a:gdLst>
              <a:gd name="connsiteX0" fmla="*/ 4605 w 1328364"/>
              <a:gd name="connsiteY0" fmla="*/ 521556 h 1375219"/>
              <a:gd name="connsiteX1" fmla="*/ 18892 w 1328364"/>
              <a:gd name="connsiteY1" fmla="*/ 421544 h 1375219"/>
              <a:gd name="connsiteX2" fmla="*/ 80805 w 1328364"/>
              <a:gd name="connsiteY2" fmla="*/ 316769 h 1375219"/>
              <a:gd name="connsiteX3" fmla="*/ 147480 w 1328364"/>
              <a:gd name="connsiteY3" fmla="*/ 273906 h 1375219"/>
              <a:gd name="connsiteX4" fmla="*/ 647542 w 1328364"/>
              <a:gd name="connsiteY4" fmla="*/ 250094 h 1375219"/>
              <a:gd name="connsiteX5" fmla="*/ 552292 w 1328364"/>
              <a:gd name="connsiteY5" fmla="*/ 192944 h 1375219"/>
              <a:gd name="connsiteX6" fmla="*/ 552292 w 1328364"/>
              <a:gd name="connsiteY6" fmla="*/ 135794 h 1375219"/>
              <a:gd name="connsiteX7" fmla="*/ 604680 w 1328364"/>
              <a:gd name="connsiteY7" fmla="*/ 83406 h 1375219"/>
              <a:gd name="connsiteX8" fmla="*/ 623730 w 1328364"/>
              <a:gd name="connsiteY8" fmla="*/ 26256 h 1375219"/>
              <a:gd name="connsiteX9" fmla="*/ 738030 w 1328364"/>
              <a:gd name="connsiteY9" fmla="*/ 7206 h 1375219"/>
              <a:gd name="connsiteX10" fmla="*/ 823755 w 1328364"/>
              <a:gd name="connsiteY10" fmla="*/ 11969 h 1375219"/>
              <a:gd name="connsiteX11" fmla="*/ 842805 w 1328364"/>
              <a:gd name="connsiteY11" fmla="*/ 140556 h 1375219"/>
              <a:gd name="connsiteX12" fmla="*/ 876142 w 1328364"/>
              <a:gd name="connsiteY12" fmla="*/ 235806 h 1375219"/>
              <a:gd name="connsiteX13" fmla="*/ 861855 w 1328364"/>
              <a:gd name="connsiteY13" fmla="*/ 312006 h 1375219"/>
              <a:gd name="connsiteX14" fmla="*/ 899955 w 1328364"/>
              <a:gd name="connsiteY14" fmla="*/ 350106 h 1375219"/>
              <a:gd name="connsiteX15" fmla="*/ 933292 w 1328364"/>
              <a:gd name="connsiteY15" fmla="*/ 350106 h 1375219"/>
              <a:gd name="connsiteX16" fmla="*/ 876142 w 1328364"/>
              <a:gd name="connsiteY16" fmla="*/ 392969 h 1375219"/>
              <a:gd name="connsiteX17" fmla="*/ 1028542 w 1328364"/>
              <a:gd name="connsiteY17" fmla="*/ 469169 h 1375219"/>
              <a:gd name="connsiteX18" fmla="*/ 1042830 w 1328364"/>
              <a:gd name="connsiteY18" fmla="*/ 516794 h 1375219"/>
              <a:gd name="connsiteX19" fmla="*/ 1080930 w 1328364"/>
              <a:gd name="connsiteY19" fmla="*/ 497744 h 1375219"/>
              <a:gd name="connsiteX20" fmla="*/ 1080930 w 1328364"/>
              <a:gd name="connsiteY20" fmla="*/ 559656 h 1375219"/>
              <a:gd name="connsiteX21" fmla="*/ 1147605 w 1328364"/>
              <a:gd name="connsiteY21" fmla="*/ 535844 h 1375219"/>
              <a:gd name="connsiteX22" fmla="*/ 1252380 w 1328364"/>
              <a:gd name="connsiteY22" fmla="*/ 564419 h 1375219"/>
              <a:gd name="connsiteX23" fmla="*/ 1319055 w 1328364"/>
              <a:gd name="connsiteY23" fmla="*/ 616806 h 1375219"/>
              <a:gd name="connsiteX24" fmla="*/ 1323817 w 1328364"/>
              <a:gd name="connsiteY24" fmla="*/ 673956 h 1375219"/>
              <a:gd name="connsiteX25" fmla="*/ 1280955 w 1328364"/>
              <a:gd name="connsiteY25" fmla="*/ 731106 h 1375219"/>
              <a:gd name="connsiteX26" fmla="*/ 1280955 w 1328364"/>
              <a:gd name="connsiteY26" fmla="*/ 888269 h 1375219"/>
              <a:gd name="connsiteX27" fmla="*/ 1185705 w 1328364"/>
              <a:gd name="connsiteY27" fmla="*/ 873981 h 1375219"/>
              <a:gd name="connsiteX28" fmla="*/ 809467 w 1328364"/>
              <a:gd name="connsiteY28" fmla="*/ 1159731 h 1375219"/>
              <a:gd name="connsiteX29" fmla="*/ 857092 w 1328364"/>
              <a:gd name="connsiteY29" fmla="*/ 1245456 h 1375219"/>
              <a:gd name="connsiteX30" fmla="*/ 742792 w 1328364"/>
              <a:gd name="connsiteY30" fmla="*/ 1374044 h 1375219"/>
              <a:gd name="connsiteX31" fmla="*/ 566580 w 1328364"/>
              <a:gd name="connsiteY31" fmla="*/ 1164494 h 1375219"/>
              <a:gd name="connsiteX32" fmla="*/ 685642 w 1328364"/>
              <a:gd name="connsiteY32" fmla="*/ 1126394 h 1375219"/>
              <a:gd name="connsiteX33" fmla="*/ 585630 w 1328364"/>
              <a:gd name="connsiteY33" fmla="*/ 1021619 h 1375219"/>
              <a:gd name="connsiteX34" fmla="*/ 490380 w 1328364"/>
              <a:gd name="connsiteY34" fmla="*/ 850169 h 1375219"/>
              <a:gd name="connsiteX35" fmla="*/ 376080 w 1328364"/>
              <a:gd name="connsiteY35" fmla="*/ 854931 h 1375219"/>
              <a:gd name="connsiteX36" fmla="*/ 385605 w 1328364"/>
              <a:gd name="connsiteY36" fmla="*/ 731106 h 1375219"/>
              <a:gd name="connsiteX37" fmla="*/ 237967 w 1328364"/>
              <a:gd name="connsiteY37" fmla="*/ 740631 h 1375219"/>
              <a:gd name="connsiteX38" fmla="*/ 152242 w 1328364"/>
              <a:gd name="connsiteY38" fmla="*/ 626331 h 1375219"/>
              <a:gd name="connsiteX39" fmla="*/ 90330 w 1328364"/>
              <a:gd name="connsiteY39" fmla="*/ 607281 h 1375219"/>
              <a:gd name="connsiteX40" fmla="*/ 4605 w 1328364"/>
              <a:gd name="connsiteY40" fmla="*/ 521556 h 1375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328364" h="1375219">
                <a:moveTo>
                  <a:pt x="4605" y="521556"/>
                </a:moveTo>
                <a:cubicBezTo>
                  <a:pt x="-7301" y="490600"/>
                  <a:pt x="6192" y="455675"/>
                  <a:pt x="18892" y="421544"/>
                </a:cubicBezTo>
                <a:cubicBezTo>
                  <a:pt x="31592" y="387413"/>
                  <a:pt x="59374" y="341375"/>
                  <a:pt x="80805" y="316769"/>
                </a:cubicBezTo>
                <a:cubicBezTo>
                  <a:pt x="102236" y="292163"/>
                  <a:pt x="53024" y="285018"/>
                  <a:pt x="147480" y="273906"/>
                </a:cubicBezTo>
                <a:cubicBezTo>
                  <a:pt x="241936" y="262794"/>
                  <a:pt x="580073" y="263588"/>
                  <a:pt x="647542" y="250094"/>
                </a:cubicBezTo>
                <a:cubicBezTo>
                  <a:pt x="715011" y="236600"/>
                  <a:pt x="568167" y="211994"/>
                  <a:pt x="552292" y="192944"/>
                </a:cubicBezTo>
                <a:cubicBezTo>
                  <a:pt x="536417" y="173894"/>
                  <a:pt x="543561" y="154050"/>
                  <a:pt x="552292" y="135794"/>
                </a:cubicBezTo>
                <a:cubicBezTo>
                  <a:pt x="561023" y="117538"/>
                  <a:pt x="592774" y="101662"/>
                  <a:pt x="604680" y="83406"/>
                </a:cubicBezTo>
                <a:cubicBezTo>
                  <a:pt x="616586" y="65150"/>
                  <a:pt x="601505" y="38956"/>
                  <a:pt x="623730" y="26256"/>
                </a:cubicBezTo>
                <a:cubicBezTo>
                  <a:pt x="645955" y="13556"/>
                  <a:pt x="704693" y="9587"/>
                  <a:pt x="738030" y="7206"/>
                </a:cubicBezTo>
                <a:cubicBezTo>
                  <a:pt x="771367" y="4825"/>
                  <a:pt x="806293" y="-10256"/>
                  <a:pt x="823755" y="11969"/>
                </a:cubicBezTo>
                <a:cubicBezTo>
                  <a:pt x="841217" y="34194"/>
                  <a:pt x="834074" y="103250"/>
                  <a:pt x="842805" y="140556"/>
                </a:cubicBezTo>
                <a:cubicBezTo>
                  <a:pt x="851536" y="177862"/>
                  <a:pt x="872967" y="207231"/>
                  <a:pt x="876142" y="235806"/>
                </a:cubicBezTo>
                <a:cubicBezTo>
                  <a:pt x="879317" y="264381"/>
                  <a:pt x="857886" y="292956"/>
                  <a:pt x="861855" y="312006"/>
                </a:cubicBezTo>
                <a:cubicBezTo>
                  <a:pt x="865824" y="331056"/>
                  <a:pt x="888049" y="343756"/>
                  <a:pt x="899955" y="350106"/>
                </a:cubicBezTo>
                <a:cubicBezTo>
                  <a:pt x="911861" y="356456"/>
                  <a:pt x="937261" y="342962"/>
                  <a:pt x="933292" y="350106"/>
                </a:cubicBezTo>
                <a:cubicBezTo>
                  <a:pt x="929323" y="357250"/>
                  <a:pt x="860267" y="373125"/>
                  <a:pt x="876142" y="392969"/>
                </a:cubicBezTo>
                <a:cubicBezTo>
                  <a:pt x="892017" y="412813"/>
                  <a:pt x="1000761" y="448531"/>
                  <a:pt x="1028542" y="469169"/>
                </a:cubicBezTo>
                <a:cubicBezTo>
                  <a:pt x="1056323" y="489806"/>
                  <a:pt x="1034099" y="512032"/>
                  <a:pt x="1042830" y="516794"/>
                </a:cubicBezTo>
                <a:cubicBezTo>
                  <a:pt x="1051561" y="521556"/>
                  <a:pt x="1074580" y="490600"/>
                  <a:pt x="1080930" y="497744"/>
                </a:cubicBezTo>
                <a:cubicBezTo>
                  <a:pt x="1087280" y="504888"/>
                  <a:pt x="1069818" y="553306"/>
                  <a:pt x="1080930" y="559656"/>
                </a:cubicBezTo>
                <a:cubicBezTo>
                  <a:pt x="1092042" y="566006"/>
                  <a:pt x="1119030" y="535050"/>
                  <a:pt x="1147605" y="535844"/>
                </a:cubicBezTo>
                <a:cubicBezTo>
                  <a:pt x="1176180" y="536638"/>
                  <a:pt x="1223805" y="550925"/>
                  <a:pt x="1252380" y="564419"/>
                </a:cubicBezTo>
                <a:cubicBezTo>
                  <a:pt x="1280955" y="577913"/>
                  <a:pt x="1307149" y="598550"/>
                  <a:pt x="1319055" y="616806"/>
                </a:cubicBezTo>
                <a:cubicBezTo>
                  <a:pt x="1330961" y="635062"/>
                  <a:pt x="1330167" y="654906"/>
                  <a:pt x="1323817" y="673956"/>
                </a:cubicBezTo>
                <a:cubicBezTo>
                  <a:pt x="1317467" y="693006"/>
                  <a:pt x="1288099" y="695387"/>
                  <a:pt x="1280955" y="731106"/>
                </a:cubicBezTo>
                <a:cubicBezTo>
                  <a:pt x="1273811" y="766825"/>
                  <a:pt x="1296830" y="864457"/>
                  <a:pt x="1280955" y="888269"/>
                </a:cubicBezTo>
                <a:cubicBezTo>
                  <a:pt x="1265080" y="912082"/>
                  <a:pt x="1264286" y="828737"/>
                  <a:pt x="1185705" y="873981"/>
                </a:cubicBezTo>
                <a:cubicBezTo>
                  <a:pt x="1107124" y="919225"/>
                  <a:pt x="864236" y="1097819"/>
                  <a:pt x="809467" y="1159731"/>
                </a:cubicBezTo>
                <a:cubicBezTo>
                  <a:pt x="754698" y="1221643"/>
                  <a:pt x="868205" y="1209737"/>
                  <a:pt x="857092" y="1245456"/>
                </a:cubicBezTo>
                <a:cubicBezTo>
                  <a:pt x="845980" y="1281175"/>
                  <a:pt x="791211" y="1387538"/>
                  <a:pt x="742792" y="1374044"/>
                </a:cubicBezTo>
                <a:cubicBezTo>
                  <a:pt x="694373" y="1360550"/>
                  <a:pt x="576105" y="1205769"/>
                  <a:pt x="566580" y="1164494"/>
                </a:cubicBezTo>
                <a:cubicBezTo>
                  <a:pt x="557055" y="1123219"/>
                  <a:pt x="682467" y="1150207"/>
                  <a:pt x="685642" y="1126394"/>
                </a:cubicBezTo>
                <a:cubicBezTo>
                  <a:pt x="688817" y="1102582"/>
                  <a:pt x="618174" y="1067656"/>
                  <a:pt x="585630" y="1021619"/>
                </a:cubicBezTo>
                <a:cubicBezTo>
                  <a:pt x="553086" y="975582"/>
                  <a:pt x="525305" y="877950"/>
                  <a:pt x="490380" y="850169"/>
                </a:cubicBezTo>
                <a:cubicBezTo>
                  <a:pt x="455455" y="822388"/>
                  <a:pt x="393542" y="874775"/>
                  <a:pt x="376080" y="854931"/>
                </a:cubicBezTo>
                <a:cubicBezTo>
                  <a:pt x="358618" y="835087"/>
                  <a:pt x="408624" y="750156"/>
                  <a:pt x="385605" y="731106"/>
                </a:cubicBezTo>
                <a:cubicBezTo>
                  <a:pt x="362586" y="712056"/>
                  <a:pt x="276861" y="758093"/>
                  <a:pt x="237967" y="740631"/>
                </a:cubicBezTo>
                <a:cubicBezTo>
                  <a:pt x="199073" y="723169"/>
                  <a:pt x="176848" y="648556"/>
                  <a:pt x="152242" y="626331"/>
                </a:cubicBezTo>
                <a:cubicBezTo>
                  <a:pt x="127636" y="604106"/>
                  <a:pt x="110174" y="620775"/>
                  <a:pt x="90330" y="607281"/>
                </a:cubicBezTo>
                <a:cubicBezTo>
                  <a:pt x="70486" y="593787"/>
                  <a:pt x="16511" y="552512"/>
                  <a:pt x="4605" y="521556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17" name="TextBox 16"/>
          <p:cNvSpPr txBox="1"/>
          <p:nvPr/>
        </p:nvSpPr>
        <p:spPr>
          <a:xfrm>
            <a:off x="2403741" y="2679021"/>
            <a:ext cx="1350080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Івано-Франківськ</a:t>
            </a:r>
            <a:endParaRPr lang="uk-UA" sz="1236" b="1" dirty="0"/>
          </a:p>
        </p:txBody>
      </p:sp>
      <p:sp>
        <p:nvSpPr>
          <p:cNvPr id="18" name="Полілінія 17"/>
          <p:cNvSpPr/>
          <p:nvPr/>
        </p:nvSpPr>
        <p:spPr>
          <a:xfrm>
            <a:off x="2917173" y="2096567"/>
            <a:ext cx="741234" cy="1015365"/>
          </a:xfrm>
          <a:custGeom>
            <a:avLst/>
            <a:gdLst>
              <a:gd name="connsiteX0" fmla="*/ 3928 w 959715"/>
              <a:gd name="connsiteY0" fmla="*/ 484846 h 1314647"/>
              <a:gd name="connsiteX1" fmla="*/ 156328 w 959715"/>
              <a:gd name="connsiteY1" fmla="*/ 337209 h 1314647"/>
              <a:gd name="connsiteX2" fmla="*/ 218241 w 959715"/>
              <a:gd name="connsiteY2" fmla="*/ 351496 h 1314647"/>
              <a:gd name="connsiteX3" fmla="*/ 213478 w 959715"/>
              <a:gd name="connsiteY3" fmla="*/ 280059 h 1314647"/>
              <a:gd name="connsiteX4" fmla="*/ 408741 w 959715"/>
              <a:gd name="connsiteY4" fmla="*/ 275296 h 1314647"/>
              <a:gd name="connsiteX5" fmla="*/ 432553 w 959715"/>
              <a:gd name="connsiteY5" fmla="*/ 170521 h 1314647"/>
              <a:gd name="connsiteX6" fmla="*/ 489703 w 959715"/>
              <a:gd name="connsiteY6" fmla="*/ 56221 h 1314647"/>
              <a:gd name="connsiteX7" fmla="*/ 656391 w 959715"/>
              <a:gd name="connsiteY7" fmla="*/ 89559 h 1314647"/>
              <a:gd name="connsiteX8" fmla="*/ 742116 w 959715"/>
              <a:gd name="connsiteY8" fmla="*/ 18121 h 1314647"/>
              <a:gd name="connsiteX9" fmla="*/ 927853 w 959715"/>
              <a:gd name="connsiteY9" fmla="*/ 3834 h 1314647"/>
              <a:gd name="connsiteX10" fmla="*/ 937378 w 959715"/>
              <a:gd name="connsiteY10" fmla="*/ 75271 h 1314647"/>
              <a:gd name="connsiteX11" fmla="*/ 918328 w 959715"/>
              <a:gd name="connsiteY11" fmla="*/ 156234 h 1314647"/>
              <a:gd name="connsiteX12" fmla="*/ 856416 w 959715"/>
              <a:gd name="connsiteY12" fmla="*/ 208621 h 1314647"/>
              <a:gd name="connsiteX13" fmla="*/ 918328 w 959715"/>
              <a:gd name="connsiteY13" fmla="*/ 437221 h 1314647"/>
              <a:gd name="connsiteX14" fmla="*/ 842128 w 959715"/>
              <a:gd name="connsiteY14" fmla="*/ 556284 h 1314647"/>
              <a:gd name="connsiteX15" fmla="*/ 899278 w 959715"/>
              <a:gd name="connsiteY15" fmla="*/ 694396 h 1314647"/>
              <a:gd name="connsiteX16" fmla="*/ 870703 w 959715"/>
              <a:gd name="connsiteY16" fmla="*/ 799171 h 1314647"/>
              <a:gd name="connsiteX17" fmla="*/ 870703 w 959715"/>
              <a:gd name="connsiteY17" fmla="*/ 913471 h 1314647"/>
              <a:gd name="connsiteX18" fmla="*/ 851653 w 959715"/>
              <a:gd name="connsiteY18" fmla="*/ 1023009 h 1314647"/>
              <a:gd name="connsiteX19" fmla="*/ 851653 w 959715"/>
              <a:gd name="connsiteY19" fmla="*/ 1051584 h 1314647"/>
              <a:gd name="connsiteX20" fmla="*/ 870703 w 959715"/>
              <a:gd name="connsiteY20" fmla="*/ 1180171 h 1314647"/>
              <a:gd name="connsiteX21" fmla="*/ 956428 w 959715"/>
              <a:gd name="connsiteY21" fmla="*/ 1313521 h 1314647"/>
              <a:gd name="connsiteX22" fmla="*/ 742116 w 959715"/>
              <a:gd name="connsiteY22" fmla="*/ 1242084 h 1314647"/>
              <a:gd name="connsiteX23" fmla="*/ 718303 w 959715"/>
              <a:gd name="connsiteY23" fmla="*/ 1203984 h 1314647"/>
              <a:gd name="connsiteX24" fmla="*/ 637341 w 959715"/>
              <a:gd name="connsiteY24" fmla="*/ 1242084 h 1314647"/>
              <a:gd name="connsiteX25" fmla="*/ 580191 w 959715"/>
              <a:gd name="connsiteY25" fmla="*/ 1156359 h 1314647"/>
              <a:gd name="connsiteX26" fmla="*/ 537328 w 959715"/>
              <a:gd name="connsiteY26" fmla="*/ 1194459 h 1314647"/>
              <a:gd name="connsiteX27" fmla="*/ 499228 w 959715"/>
              <a:gd name="connsiteY27" fmla="*/ 1156359 h 1314647"/>
              <a:gd name="connsiteX28" fmla="*/ 470653 w 959715"/>
              <a:gd name="connsiteY28" fmla="*/ 1080159 h 1314647"/>
              <a:gd name="connsiteX29" fmla="*/ 342066 w 959715"/>
              <a:gd name="connsiteY29" fmla="*/ 1008721 h 1314647"/>
              <a:gd name="connsiteX30" fmla="*/ 261103 w 959715"/>
              <a:gd name="connsiteY30" fmla="*/ 1037296 h 1314647"/>
              <a:gd name="connsiteX31" fmla="*/ 256341 w 959715"/>
              <a:gd name="connsiteY31" fmla="*/ 980146 h 1314647"/>
              <a:gd name="connsiteX32" fmla="*/ 203953 w 959715"/>
              <a:gd name="connsiteY32" fmla="*/ 1003959 h 1314647"/>
              <a:gd name="connsiteX33" fmla="*/ 199191 w 959715"/>
              <a:gd name="connsiteY33" fmla="*/ 951571 h 1314647"/>
              <a:gd name="connsiteX34" fmla="*/ 56316 w 959715"/>
              <a:gd name="connsiteY34" fmla="*/ 875371 h 1314647"/>
              <a:gd name="connsiteX35" fmla="*/ 118228 w 959715"/>
              <a:gd name="connsiteY35" fmla="*/ 832509 h 1314647"/>
              <a:gd name="connsiteX36" fmla="*/ 51553 w 959715"/>
              <a:gd name="connsiteY36" fmla="*/ 808696 h 1314647"/>
              <a:gd name="connsiteX37" fmla="*/ 3928 w 959715"/>
              <a:gd name="connsiteY37" fmla="*/ 484846 h 131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959715" h="1314647">
                <a:moveTo>
                  <a:pt x="3928" y="484846"/>
                </a:moveTo>
                <a:cubicBezTo>
                  <a:pt x="21390" y="406265"/>
                  <a:pt x="120609" y="359434"/>
                  <a:pt x="156328" y="337209"/>
                </a:cubicBezTo>
                <a:cubicBezTo>
                  <a:pt x="192047" y="314984"/>
                  <a:pt x="208716" y="361021"/>
                  <a:pt x="218241" y="351496"/>
                </a:cubicBezTo>
                <a:cubicBezTo>
                  <a:pt x="227766" y="341971"/>
                  <a:pt x="181728" y="292759"/>
                  <a:pt x="213478" y="280059"/>
                </a:cubicBezTo>
                <a:cubicBezTo>
                  <a:pt x="245228" y="267359"/>
                  <a:pt x="372229" y="293552"/>
                  <a:pt x="408741" y="275296"/>
                </a:cubicBezTo>
                <a:cubicBezTo>
                  <a:pt x="445254" y="257040"/>
                  <a:pt x="419059" y="207033"/>
                  <a:pt x="432553" y="170521"/>
                </a:cubicBezTo>
                <a:cubicBezTo>
                  <a:pt x="446047" y="134008"/>
                  <a:pt x="452397" y="69715"/>
                  <a:pt x="489703" y="56221"/>
                </a:cubicBezTo>
                <a:cubicBezTo>
                  <a:pt x="527009" y="42727"/>
                  <a:pt x="614322" y="95909"/>
                  <a:pt x="656391" y="89559"/>
                </a:cubicBezTo>
                <a:cubicBezTo>
                  <a:pt x="698460" y="83209"/>
                  <a:pt x="696872" y="32408"/>
                  <a:pt x="742116" y="18121"/>
                </a:cubicBezTo>
                <a:cubicBezTo>
                  <a:pt x="787360" y="3834"/>
                  <a:pt x="895309" y="-5691"/>
                  <a:pt x="927853" y="3834"/>
                </a:cubicBezTo>
                <a:cubicBezTo>
                  <a:pt x="960397" y="13359"/>
                  <a:pt x="938966" y="49871"/>
                  <a:pt x="937378" y="75271"/>
                </a:cubicBezTo>
                <a:cubicBezTo>
                  <a:pt x="935791" y="100671"/>
                  <a:pt x="931822" y="134009"/>
                  <a:pt x="918328" y="156234"/>
                </a:cubicBezTo>
                <a:cubicBezTo>
                  <a:pt x="904834" y="178459"/>
                  <a:pt x="856416" y="161790"/>
                  <a:pt x="856416" y="208621"/>
                </a:cubicBezTo>
                <a:cubicBezTo>
                  <a:pt x="856416" y="255452"/>
                  <a:pt x="920709" y="379277"/>
                  <a:pt x="918328" y="437221"/>
                </a:cubicBezTo>
                <a:cubicBezTo>
                  <a:pt x="915947" y="495165"/>
                  <a:pt x="845303" y="513422"/>
                  <a:pt x="842128" y="556284"/>
                </a:cubicBezTo>
                <a:cubicBezTo>
                  <a:pt x="838953" y="599146"/>
                  <a:pt x="894516" y="653915"/>
                  <a:pt x="899278" y="694396"/>
                </a:cubicBezTo>
                <a:cubicBezTo>
                  <a:pt x="904040" y="734877"/>
                  <a:pt x="875466" y="762659"/>
                  <a:pt x="870703" y="799171"/>
                </a:cubicBezTo>
                <a:cubicBezTo>
                  <a:pt x="865941" y="835684"/>
                  <a:pt x="873878" y="876165"/>
                  <a:pt x="870703" y="913471"/>
                </a:cubicBezTo>
                <a:cubicBezTo>
                  <a:pt x="867528" y="950777"/>
                  <a:pt x="854828" y="999990"/>
                  <a:pt x="851653" y="1023009"/>
                </a:cubicBezTo>
                <a:cubicBezTo>
                  <a:pt x="848478" y="1046028"/>
                  <a:pt x="848478" y="1025390"/>
                  <a:pt x="851653" y="1051584"/>
                </a:cubicBezTo>
                <a:cubicBezTo>
                  <a:pt x="854828" y="1077778"/>
                  <a:pt x="853241" y="1136515"/>
                  <a:pt x="870703" y="1180171"/>
                </a:cubicBezTo>
                <a:cubicBezTo>
                  <a:pt x="888165" y="1223827"/>
                  <a:pt x="977859" y="1303202"/>
                  <a:pt x="956428" y="1313521"/>
                </a:cubicBezTo>
                <a:cubicBezTo>
                  <a:pt x="934997" y="1323840"/>
                  <a:pt x="781803" y="1260340"/>
                  <a:pt x="742116" y="1242084"/>
                </a:cubicBezTo>
                <a:cubicBezTo>
                  <a:pt x="702429" y="1223828"/>
                  <a:pt x="735765" y="1203984"/>
                  <a:pt x="718303" y="1203984"/>
                </a:cubicBezTo>
                <a:cubicBezTo>
                  <a:pt x="700841" y="1203984"/>
                  <a:pt x="660360" y="1250021"/>
                  <a:pt x="637341" y="1242084"/>
                </a:cubicBezTo>
                <a:cubicBezTo>
                  <a:pt x="614322" y="1234147"/>
                  <a:pt x="596860" y="1164296"/>
                  <a:pt x="580191" y="1156359"/>
                </a:cubicBezTo>
                <a:cubicBezTo>
                  <a:pt x="563522" y="1148422"/>
                  <a:pt x="550822" y="1194459"/>
                  <a:pt x="537328" y="1194459"/>
                </a:cubicBezTo>
                <a:cubicBezTo>
                  <a:pt x="523834" y="1194459"/>
                  <a:pt x="510340" y="1175409"/>
                  <a:pt x="499228" y="1156359"/>
                </a:cubicBezTo>
                <a:cubicBezTo>
                  <a:pt x="488116" y="1137309"/>
                  <a:pt x="496847" y="1104765"/>
                  <a:pt x="470653" y="1080159"/>
                </a:cubicBezTo>
                <a:cubicBezTo>
                  <a:pt x="444459" y="1055553"/>
                  <a:pt x="376991" y="1015865"/>
                  <a:pt x="342066" y="1008721"/>
                </a:cubicBezTo>
                <a:cubicBezTo>
                  <a:pt x="307141" y="1001577"/>
                  <a:pt x="275391" y="1042059"/>
                  <a:pt x="261103" y="1037296"/>
                </a:cubicBezTo>
                <a:cubicBezTo>
                  <a:pt x="246815" y="1032533"/>
                  <a:pt x="265866" y="985702"/>
                  <a:pt x="256341" y="980146"/>
                </a:cubicBezTo>
                <a:cubicBezTo>
                  <a:pt x="246816" y="974590"/>
                  <a:pt x="213478" y="1008722"/>
                  <a:pt x="203953" y="1003959"/>
                </a:cubicBezTo>
                <a:cubicBezTo>
                  <a:pt x="194428" y="999196"/>
                  <a:pt x="223797" y="973002"/>
                  <a:pt x="199191" y="951571"/>
                </a:cubicBezTo>
                <a:cubicBezTo>
                  <a:pt x="174585" y="930140"/>
                  <a:pt x="69810" y="895215"/>
                  <a:pt x="56316" y="875371"/>
                </a:cubicBezTo>
                <a:cubicBezTo>
                  <a:pt x="42822" y="855527"/>
                  <a:pt x="119022" y="843621"/>
                  <a:pt x="118228" y="832509"/>
                </a:cubicBezTo>
                <a:cubicBezTo>
                  <a:pt x="117434" y="821397"/>
                  <a:pt x="71397" y="861877"/>
                  <a:pt x="51553" y="808696"/>
                </a:cubicBezTo>
                <a:cubicBezTo>
                  <a:pt x="31709" y="755515"/>
                  <a:pt x="-13534" y="563427"/>
                  <a:pt x="3928" y="484846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19" name="TextBox 18"/>
          <p:cNvSpPr txBox="1"/>
          <p:nvPr/>
        </p:nvSpPr>
        <p:spPr>
          <a:xfrm>
            <a:off x="2823368" y="2417835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Тернопіль</a:t>
            </a:r>
            <a:endParaRPr lang="uk-UA" sz="1236" b="1" dirty="0"/>
          </a:p>
        </p:txBody>
      </p:sp>
      <p:sp>
        <p:nvSpPr>
          <p:cNvPr id="20" name="Полілінія 19"/>
          <p:cNvSpPr/>
          <p:nvPr/>
        </p:nvSpPr>
        <p:spPr>
          <a:xfrm>
            <a:off x="2886874" y="2979466"/>
            <a:ext cx="1338305" cy="596928"/>
          </a:xfrm>
          <a:custGeom>
            <a:avLst/>
            <a:gdLst>
              <a:gd name="connsiteX0" fmla="*/ 4676 w 1686273"/>
              <a:gd name="connsiteY0" fmla="*/ 690572 h 691347"/>
              <a:gd name="connsiteX1" fmla="*/ 80876 w 1686273"/>
              <a:gd name="connsiteY1" fmla="*/ 538172 h 691347"/>
              <a:gd name="connsiteX2" fmla="*/ 33251 w 1686273"/>
              <a:gd name="connsiteY2" fmla="*/ 495309 h 691347"/>
              <a:gd name="connsiteX3" fmla="*/ 385676 w 1686273"/>
              <a:gd name="connsiteY3" fmla="*/ 190509 h 691347"/>
              <a:gd name="connsiteX4" fmla="*/ 476164 w 1686273"/>
              <a:gd name="connsiteY4" fmla="*/ 228609 h 691347"/>
              <a:gd name="connsiteX5" fmla="*/ 509501 w 1686273"/>
              <a:gd name="connsiteY5" fmla="*/ 52397 h 691347"/>
              <a:gd name="connsiteX6" fmla="*/ 557126 w 1686273"/>
              <a:gd name="connsiteY6" fmla="*/ 9 h 691347"/>
              <a:gd name="connsiteX7" fmla="*/ 595226 w 1686273"/>
              <a:gd name="connsiteY7" fmla="*/ 47634 h 691347"/>
              <a:gd name="connsiteX8" fmla="*/ 623801 w 1686273"/>
              <a:gd name="connsiteY8" fmla="*/ 4772 h 691347"/>
              <a:gd name="connsiteX9" fmla="*/ 676189 w 1686273"/>
              <a:gd name="connsiteY9" fmla="*/ 71447 h 691347"/>
              <a:gd name="connsiteX10" fmla="*/ 738101 w 1686273"/>
              <a:gd name="connsiteY10" fmla="*/ 95259 h 691347"/>
              <a:gd name="connsiteX11" fmla="*/ 785726 w 1686273"/>
              <a:gd name="connsiteY11" fmla="*/ 52397 h 691347"/>
              <a:gd name="connsiteX12" fmla="*/ 857164 w 1686273"/>
              <a:gd name="connsiteY12" fmla="*/ 128597 h 691347"/>
              <a:gd name="connsiteX13" fmla="*/ 1071476 w 1686273"/>
              <a:gd name="connsiteY13" fmla="*/ 152409 h 691347"/>
              <a:gd name="connsiteX14" fmla="*/ 1109576 w 1686273"/>
              <a:gd name="connsiteY14" fmla="*/ 204797 h 691347"/>
              <a:gd name="connsiteX15" fmla="*/ 1138151 w 1686273"/>
              <a:gd name="connsiteY15" fmla="*/ 138122 h 691347"/>
              <a:gd name="connsiteX16" fmla="*/ 1176251 w 1686273"/>
              <a:gd name="connsiteY16" fmla="*/ 119072 h 691347"/>
              <a:gd name="connsiteX17" fmla="*/ 1204826 w 1686273"/>
              <a:gd name="connsiteY17" fmla="*/ 176222 h 691347"/>
              <a:gd name="connsiteX18" fmla="*/ 1242926 w 1686273"/>
              <a:gd name="connsiteY18" fmla="*/ 104784 h 691347"/>
              <a:gd name="connsiteX19" fmla="*/ 1290551 w 1686273"/>
              <a:gd name="connsiteY19" fmla="*/ 119072 h 691347"/>
              <a:gd name="connsiteX20" fmla="*/ 1309601 w 1686273"/>
              <a:gd name="connsiteY20" fmla="*/ 166697 h 691347"/>
              <a:gd name="connsiteX21" fmla="*/ 1390564 w 1686273"/>
              <a:gd name="connsiteY21" fmla="*/ 109547 h 691347"/>
              <a:gd name="connsiteX22" fmla="*/ 1485814 w 1686273"/>
              <a:gd name="connsiteY22" fmla="*/ 128597 h 691347"/>
              <a:gd name="connsiteX23" fmla="*/ 1576301 w 1686273"/>
              <a:gd name="connsiteY23" fmla="*/ 142884 h 691347"/>
              <a:gd name="connsiteX24" fmla="*/ 1623926 w 1686273"/>
              <a:gd name="connsiteY24" fmla="*/ 71447 h 691347"/>
              <a:gd name="connsiteX25" fmla="*/ 1685839 w 1686273"/>
              <a:gd name="connsiteY25" fmla="*/ 223847 h 691347"/>
              <a:gd name="connsiteX26" fmla="*/ 1590589 w 1686273"/>
              <a:gd name="connsiteY26" fmla="*/ 242897 h 691347"/>
              <a:gd name="connsiteX27" fmla="*/ 1533439 w 1686273"/>
              <a:gd name="connsiteY27" fmla="*/ 304809 h 691347"/>
              <a:gd name="connsiteX28" fmla="*/ 1404851 w 1686273"/>
              <a:gd name="connsiteY28" fmla="*/ 266709 h 691347"/>
              <a:gd name="connsiteX29" fmla="*/ 1361989 w 1686273"/>
              <a:gd name="connsiteY29" fmla="*/ 309572 h 691347"/>
              <a:gd name="connsiteX30" fmla="*/ 1257214 w 1686273"/>
              <a:gd name="connsiteY30" fmla="*/ 271472 h 691347"/>
              <a:gd name="connsiteX31" fmla="*/ 1233401 w 1686273"/>
              <a:gd name="connsiteY31" fmla="*/ 366722 h 691347"/>
              <a:gd name="connsiteX32" fmla="*/ 1161964 w 1686273"/>
              <a:gd name="connsiteY32" fmla="*/ 395297 h 691347"/>
              <a:gd name="connsiteX33" fmla="*/ 890501 w 1686273"/>
              <a:gd name="connsiteY33" fmla="*/ 433397 h 691347"/>
              <a:gd name="connsiteX34" fmla="*/ 885739 w 1686273"/>
              <a:gd name="connsiteY34" fmla="*/ 509597 h 691347"/>
              <a:gd name="connsiteX35" fmla="*/ 490451 w 1686273"/>
              <a:gd name="connsiteY35" fmla="*/ 585797 h 691347"/>
              <a:gd name="connsiteX36" fmla="*/ 242801 w 1686273"/>
              <a:gd name="connsiteY36" fmla="*/ 595322 h 691347"/>
              <a:gd name="connsiteX37" fmla="*/ 4676 w 1686273"/>
              <a:gd name="connsiteY37" fmla="*/ 690572 h 69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686273" h="691347">
                <a:moveTo>
                  <a:pt x="4676" y="690572"/>
                </a:moveTo>
                <a:cubicBezTo>
                  <a:pt x="-22311" y="681047"/>
                  <a:pt x="76114" y="570716"/>
                  <a:pt x="80876" y="538172"/>
                </a:cubicBezTo>
                <a:cubicBezTo>
                  <a:pt x="85638" y="505628"/>
                  <a:pt x="-17549" y="553253"/>
                  <a:pt x="33251" y="495309"/>
                </a:cubicBezTo>
                <a:cubicBezTo>
                  <a:pt x="84051" y="437365"/>
                  <a:pt x="311857" y="234959"/>
                  <a:pt x="385676" y="190509"/>
                </a:cubicBezTo>
                <a:cubicBezTo>
                  <a:pt x="459495" y="146059"/>
                  <a:pt x="455527" y="251628"/>
                  <a:pt x="476164" y="228609"/>
                </a:cubicBezTo>
                <a:cubicBezTo>
                  <a:pt x="496801" y="205590"/>
                  <a:pt x="496007" y="90497"/>
                  <a:pt x="509501" y="52397"/>
                </a:cubicBezTo>
                <a:cubicBezTo>
                  <a:pt x="522995" y="14297"/>
                  <a:pt x="542839" y="803"/>
                  <a:pt x="557126" y="9"/>
                </a:cubicBezTo>
                <a:cubicBezTo>
                  <a:pt x="571413" y="-785"/>
                  <a:pt x="584114" y="46840"/>
                  <a:pt x="595226" y="47634"/>
                </a:cubicBezTo>
                <a:cubicBezTo>
                  <a:pt x="606338" y="48428"/>
                  <a:pt x="610307" y="803"/>
                  <a:pt x="623801" y="4772"/>
                </a:cubicBezTo>
                <a:cubicBezTo>
                  <a:pt x="637295" y="8741"/>
                  <a:pt x="657139" y="56366"/>
                  <a:pt x="676189" y="71447"/>
                </a:cubicBezTo>
                <a:cubicBezTo>
                  <a:pt x="695239" y="86528"/>
                  <a:pt x="719845" y="98434"/>
                  <a:pt x="738101" y="95259"/>
                </a:cubicBezTo>
                <a:cubicBezTo>
                  <a:pt x="756357" y="92084"/>
                  <a:pt x="765882" y="46841"/>
                  <a:pt x="785726" y="52397"/>
                </a:cubicBezTo>
                <a:cubicBezTo>
                  <a:pt x="805570" y="57953"/>
                  <a:pt x="809539" y="111928"/>
                  <a:pt x="857164" y="128597"/>
                </a:cubicBezTo>
                <a:cubicBezTo>
                  <a:pt x="904789" y="145266"/>
                  <a:pt x="1029407" y="139709"/>
                  <a:pt x="1071476" y="152409"/>
                </a:cubicBezTo>
                <a:cubicBezTo>
                  <a:pt x="1113545" y="165109"/>
                  <a:pt x="1098464" y="207178"/>
                  <a:pt x="1109576" y="204797"/>
                </a:cubicBezTo>
                <a:cubicBezTo>
                  <a:pt x="1120689" y="202416"/>
                  <a:pt x="1127039" y="152409"/>
                  <a:pt x="1138151" y="138122"/>
                </a:cubicBezTo>
                <a:cubicBezTo>
                  <a:pt x="1149264" y="123834"/>
                  <a:pt x="1165139" y="112722"/>
                  <a:pt x="1176251" y="119072"/>
                </a:cubicBezTo>
                <a:cubicBezTo>
                  <a:pt x="1187363" y="125422"/>
                  <a:pt x="1193714" y="178603"/>
                  <a:pt x="1204826" y="176222"/>
                </a:cubicBezTo>
                <a:cubicBezTo>
                  <a:pt x="1215938" y="173841"/>
                  <a:pt x="1228639" y="114309"/>
                  <a:pt x="1242926" y="104784"/>
                </a:cubicBezTo>
                <a:cubicBezTo>
                  <a:pt x="1257213" y="95259"/>
                  <a:pt x="1279439" y="108753"/>
                  <a:pt x="1290551" y="119072"/>
                </a:cubicBezTo>
                <a:cubicBezTo>
                  <a:pt x="1301663" y="129391"/>
                  <a:pt x="1292932" y="168284"/>
                  <a:pt x="1309601" y="166697"/>
                </a:cubicBezTo>
                <a:cubicBezTo>
                  <a:pt x="1326270" y="165110"/>
                  <a:pt x="1361195" y="115897"/>
                  <a:pt x="1390564" y="109547"/>
                </a:cubicBezTo>
                <a:cubicBezTo>
                  <a:pt x="1419933" y="103197"/>
                  <a:pt x="1454858" y="123041"/>
                  <a:pt x="1485814" y="128597"/>
                </a:cubicBezTo>
                <a:cubicBezTo>
                  <a:pt x="1516770" y="134153"/>
                  <a:pt x="1553282" y="152409"/>
                  <a:pt x="1576301" y="142884"/>
                </a:cubicBezTo>
                <a:cubicBezTo>
                  <a:pt x="1599320" y="133359"/>
                  <a:pt x="1605670" y="57953"/>
                  <a:pt x="1623926" y="71447"/>
                </a:cubicBezTo>
                <a:cubicBezTo>
                  <a:pt x="1642182" y="84941"/>
                  <a:pt x="1691395" y="195272"/>
                  <a:pt x="1685839" y="223847"/>
                </a:cubicBezTo>
                <a:cubicBezTo>
                  <a:pt x="1680283" y="252422"/>
                  <a:pt x="1615989" y="229403"/>
                  <a:pt x="1590589" y="242897"/>
                </a:cubicBezTo>
                <a:cubicBezTo>
                  <a:pt x="1565189" y="256391"/>
                  <a:pt x="1564395" y="300840"/>
                  <a:pt x="1533439" y="304809"/>
                </a:cubicBezTo>
                <a:cubicBezTo>
                  <a:pt x="1502483" y="308778"/>
                  <a:pt x="1433426" y="265915"/>
                  <a:pt x="1404851" y="266709"/>
                </a:cubicBezTo>
                <a:cubicBezTo>
                  <a:pt x="1376276" y="267503"/>
                  <a:pt x="1386595" y="308778"/>
                  <a:pt x="1361989" y="309572"/>
                </a:cubicBezTo>
                <a:cubicBezTo>
                  <a:pt x="1337383" y="310366"/>
                  <a:pt x="1278645" y="261947"/>
                  <a:pt x="1257214" y="271472"/>
                </a:cubicBezTo>
                <a:cubicBezTo>
                  <a:pt x="1235783" y="280997"/>
                  <a:pt x="1249276" y="346084"/>
                  <a:pt x="1233401" y="366722"/>
                </a:cubicBezTo>
                <a:cubicBezTo>
                  <a:pt x="1217526" y="387359"/>
                  <a:pt x="1219114" y="384184"/>
                  <a:pt x="1161964" y="395297"/>
                </a:cubicBezTo>
                <a:cubicBezTo>
                  <a:pt x="1104814" y="406409"/>
                  <a:pt x="936538" y="414347"/>
                  <a:pt x="890501" y="433397"/>
                </a:cubicBezTo>
                <a:cubicBezTo>
                  <a:pt x="844464" y="452447"/>
                  <a:pt x="952414" y="484197"/>
                  <a:pt x="885739" y="509597"/>
                </a:cubicBezTo>
                <a:cubicBezTo>
                  <a:pt x="819064" y="534997"/>
                  <a:pt x="597607" y="571510"/>
                  <a:pt x="490451" y="585797"/>
                </a:cubicBezTo>
                <a:cubicBezTo>
                  <a:pt x="383295" y="600084"/>
                  <a:pt x="320589" y="571509"/>
                  <a:pt x="242801" y="595322"/>
                </a:cubicBezTo>
                <a:cubicBezTo>
                  <a:pt x="165013" y="619135"/>
                  <a:pt x="31663" y="700097"/>
                  <a:pt x="4676" y="690572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21" name="TextBox 20"/>
          <p:cNvSpPr txBox="1"/>
          <p:nvPr/>
        </p:nvSpPr>
        <p:spPr>
          <a:xfrm>
            <a:off x="3085830" y="3145567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Чернівці</a:t>
            </a:r>
          </a:p>
        </p:txBody>
      </p:sp>
      <p:sp>
        <p:nvSpPr>
          <p:cNvPr id="22" name="Полілінія 21"/>
          <p:cNvSpPr/>
          <p:nvPr/>
        </p:nvSpPr>
        <p:spPr>
          <a:xfrm>
            <a:off x="3581242" y="1944993"/>
            <a:ext cx="821818" cy="1207165"/>
          </a:xfrm>
          <a:custGeom>
            <a:avLst/>
            <a:gdLst>
              <a:gd name="connsiteX0" fmla="*/ 100256 w 1064052"/>
              <a:gd name="connsiteY0" fmla="*/ 290719 h 1562980"/>
              <a:gd name="connsiteX1" fmla="*/ 466968 w 1064052"/>
              <a:gd name="connsiteY1" fmla="*/ 100219 h 1562980"/>
              <a:gd name="connsiteX2" fmla="*/ 424106 w 1064052"/>
              <a:gd name="connsiteY2" fmla="*/ 66882 h 1562980"/>
              <a:gd name="connsiteX3" fmla="*/ 662231 w 1064052"/>
              <a:gd name="connsiteY3" fmla="*/ 207 h 1562980"/>
              <a:gd name="connsiteX4" fmla="*/ 719381 w 1064052"/>
              <a:gd name="connsiteY4" fmla="*/ 90694 h 1562980"/>
              <a:gd name="connsiteX5" fmla="*/ 690806 w 1064052"/>
              <a:gd name="connsiteY5" fmla="*/ 124032 h 1562980"/>
              <a:gd name="connsiteX6" fmla="*/ 924168 w 1064052"/>
              <a:gd name="connsiteY6" fmla="*/ 271669 h 1562980"/>
              <a:gd name="connsiteX7" fmla="*/ 947981 w 1064052"/>
              <a:gd name="connsiteY7" fmla="*/ 400257 h 1562980"/>
              <a:gd name="connsiteX8" fmla="*/ 886068 w 1064052"/>
              <a:gd name="connsiteY8" fmla="*/ 400257 h 1562980"/>
              <a:gd name="connsiteX9" fmla="*/ 876543 w 1064052"/>
              <a:gd name="connsiteY9" fmla="*/ 471694 h 1562980"/>
              <a:gd name="connsiteX10" fmla="*/ 1009893 w 1064052"/>
              <a:gd name="connsiteY10" fmla="*/ 647907 h 1562980"/>
              <a:gd name="connsiteX11" fmla="*/ 971793 w 1064052"/>
              <a:gd name="connsiteY11" fmla="*/ 828882 h 1562980"/>
              <a:gd name="connsiteX12" fmla="*/ 1062281 w 1064052"/>
              <a:gd name="connsiteY12" fmla="*/ 986044 h 1562980"/>
              <a:gd name="connsiteX13" fmla="*/ 1033706 w 1064052"/>
              <a:gd name="connsiteY13" fmla="*/ 1019382 h 1562980"/>
              <a:gd name="connsiteX14" fmla="*/ 1057518 w 1064052"/>
              <a:gd name="connsiteY14" fmla="*/ 1067007 h 1562980"/>
              <a:gd name="connsiteX15" fmla="*/ 986081 w 1064052"/>
              <a:gd name="connsiteY15" fmla="*/ 1109869 h 1562980"/>
              <a:gd name="connsiteX16" fmla="*/ 886068 w 1064052"/>
              <a:gd name="connsiteY16" fmla="*/ 1086057 h 1562980"/>
              <a:gd name="connsiteX17" fmla="*/ 728906 w 1064052"/>
              <a:gd name="connsiteY17" fmla="*/ 1162257 h 1562980"/>
              <a:gd name="connsiteX18" fmla="*/ 747956 w 1064052"/>
              <a:gd name="connsiteY18" fmla="*/ 1414669 h 1562980"/>
              <a:gd name="connsiteX19" fmla="*/ 647943 w 1064052"/>
              <a:gd name="connsiteY19" fmla="*/ 1495632 h 1562980"/>
              <a:gd name="connsiteX20" fmla="*/ 500306 w 1064052"/>
              <a:gd name="connsiteY20" fmla="*/ 1486107 h 1562980"/>
              <a:gd name="connsiteX21" fmla="*/ 395531 w 1064052"/>
              <a:gd name="connsiteY21" fmla="*/ 1524207 h 1562980"/>
              <a:gd name="connsiteX22" fmla="*/ 343143 w 1064052"/>
              <a:gd name="connsiteY22" fmla="*/ 1490869 h 1562980"/>
              <a:gd name="connsiteX23" fmla="*/ 295518 w 1064052"/>
              <a:gd name="connsiteY23" fmla="*/ 1481344 h 1562980"/>
              <a:gd name="connsiteX24" fmla="*/ 295518 w 1064052"/>
              <a:gd name="connsiteY24" fmla="*/ 1543257 h 1562980"/>
              <a:gd name="connsiteX25" fmla="*/ 262181 w 1064052"/>
              <a:gd name="connsiteY25" fmla="*/ 1495632 h 1562980"/>
              <a:gd name="connsiteX26" fmla="*/ 200268 w 1064052"/>
              <a:gd name="connsiteY26" fmla="*/ 1562307 h 1562980"/>
              <a:gd name="connsiteX27" fmla="*/ 128831 w 1064052"/>
              <a:gd name="connsiteY27" fmla="*/ 1519444 h 1562980"/>
              <a:gd name="connsiteX28" fmla="*/ 5006 w 1064052"/>
              <a:gd name="connsiteY28" fmla="*/ 1362282 h 1562980"/>
              <a:gd name="connsiteX29" fmla="*/ 28818 w 1064052"/>
              <a:gd name="connsiteY29" fmla="*/ 962232 h 1562980"/>
              <a:gd name="connsiteX30" fmla="*/ 71681 w 1064052"/>
              <a:gd name="connsiteY30" fmla="*/ 876507 h 1562980"/>
              <a:gd name="connsiteX31" fmla="*/ 243 w 1064052"/>
              <a:gd name="connsiteY31" fmla="*/ 781257 h 1562980"/>
              <a:gd name="connsiteX32" fmla="*/ 76443 w 1064052"/>
              <a:gd name="connsiteY32" fmla="*/ 676482 h 1562980"/>
              <a:gd name="connsiteX33" fmla="*/ 24056 w 1064052"/>
              <a:gd name="connsiteY33" fmla="*/ 433594 h 1562980"/>
              <a:gd name="connsiteX34" fmla="*/ 100256 w 1064052"/>
              <a:gd name="connsiteY34" fmla="*/ 290719 h 1562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064052" h="1562980">
                <a:moveTo>
                  <a:pt x="100256" y="290719"/>
                </a:moveTo>
                <a:cubicBezTo>
                  <a:pt x="174075" y="235156"/>
                  <a:pt x="412993" y="137525"/>
                  <a:pt x="466968" y="100219"/>
                </a:cubicBezTo>
                <a:cubicBezTo>
                  <a:pt x="520943" y="62913"/>
                  <a:pt x="391562" y="83551"/>
                  <a:pt x="424106" y="66882"/>
                </a:cubicBezTo>
                <a:cubicBezTo>
                  <a:pt x="456650" y="50213"/>
                  <a:pt x="613019" y="-3762"/>
                  <a:pt x="662231" y="207"/>
                </a:cubicBezTo>
                <a:cubicBezTo>
                  <a:pt x="711443" y="4176"/>
                  <a:pt x="714619" y="70057"/>
                  <a:pt x="719381" y="90694"/>
                </a:cubicBezTo>
                <a:cubicBezTo>
                  <a:pt x="724143" y="111331"/>
                  <a:pt x="656675" y="93870"/>
                  <a:pt x="690806" y="124032"/>
                </a:cubicBezTo>
                <a:cubicBezTo>
                  <a:pt x="724937" y="154194"/>
                  <a:pt x="881306" y="225632"/>
                  <a:pt x="924168" y="271669"/>
                </a:cubicBezTo>
                <a:cubicBezTo>
                  <a:pt x="967030" y="317706"/>
                  <a:pt x="954331" y="378826"/>
                  <a:pt x="947981" y="400257"/>
                </a:cubicBezTo>
                <a:cubicBezTo>
                  <a:pt x="941631" y="421688"/>
                  <a:pt x="897974" y="388351"/>
                  <a:pt x="886068" y="400257"/>
                </a:cubicBezTo>
                <a:cubicBezTo>
                  <a:pt x="874162" y="412163"/>
                  <a:pt x="855906" y="430419"/>
                  <a:pt x="876543" y="471694"/>
                </a:cubicBezTo>
                <a:cubicBezTo>
                  <a:pt x="897181" y="512969"/>
                  <a:pt x="994018" y="588376"/>
                  <a:pt x="1009893" y="647907"/>
                </a:cubicBezTo>
                <a:cubicBezTo>
                  <a:pt x="1025768" y="707438"/>
                  <a:pt x="963062" y="772526"/>
                  <a:pt x="971793" y="828882"/>
                </a:cubicBezTo>
                <a:cubicBezTo>
                  <a:pt x="980524" y="885238"/>
                  <a:pt x="1051962" y="954294"/>
                  <a:pt x="1062281" y="986044"/>
                </a:cubicBezTo>
                <a:cubicBezTo>
                  <a:pt x="1072600" y="1017794"/>
                  <a:pt x="1034500" y="1005888"/>
                  <a:pt x="1033706" y="1019382"/>
                </a:cubicBezTo>
                <a:cubicBezTo>
                  <a:pt x="1032912" y="1032876"/>
                  <a:pt x="1065455" y="1051926"/>
                  <a:pt x="1057518" y="1067007"/>
                </a:cubicBezTo>
                <a:cubicBezTo>
                  <a:pt x="1049581" y="1082088"/>
                  <a:pt x="1014656" y="1106694"/>
                  <a:pt x="986081" y="1109869"/>
                </a:cubicBezTo>
                <a:cubicBezTo>
                  <a:pt x="957506" y="1113044"/>
                  <a:pt x="928930" y="1077326"/>
                  <a:pt x="886068" y="1086057"/>
                </a:cubicBezTo>
                <a:cubicBezTo>
                  <a:pt x="843206" y="1094788"/>
                  <a:pt x="751925" y="1107488"/>
                  <a:pt x="728906" y="1162257"/>
                </a:cubicBezTo>
                <a:cubicBezTo>
                  <a:pt x="705887" y="1217026"/>
                  <a:pt x="761450" y="1359107"/>
                  <a:pt x="747956" y="1414669"/>
                </a:cubicBezTo>
                <a:cubicBezTo>
                  <a:pt x="734462" y="1470231"/>
                  <a:pt x="689218" y="1483726"/>
                  <a:pt x="647943" y="1495632"/>
                </a:cubicBezTo>
                <a:cubicBezTo>
                  <a:pt x="606668" y="1507538"/>
                  <a:pt x="542375" y="1481345"/>
                  <a:pt x="500306" y="1486107"/>
                </a:cubicBezTo>
                <a:cubicBezTo>
                  <a:pt x="458237" y="1490869"/>
                  <a:pt x="421725" y="1523413"/>
                  <a:pt x="395531" y="1524207"/>
                </a:cubicBezTo>
                <a:cubicBezTo>
                  <a:pt x="369337" y="1525001"/>
                  <a:pt x="359812" y="1498013"/>
                  <a:pt x="343143" y="1490869"/>
                </a:cubicBezTo>
                <a:cubicBezTo>
                  <a:pt x="326474" y="1483725"/>
                  <a:pt x="303455" y="1472613"/>
                  <a:pt x="295518" y="1481344"/>
                </a:cubicBezTo>
                <a:cubicBezTo>
                  <a:pt x="287581" y="1490075"/>
                  <a:pt x="301074" y="1540876"/>
                  <a:pt x="295518" y="1543257"/>
                </a:cubicBezTo>
                <a:cubicBezTo>
                  <a:pt x="289962" y="1545638"/>
                  <a:pt x="278056" y="1492457"/>
                  <a:pt x="262181" y="1495632"/>
                </a:cubicBezTo>
                <a:cubicBezTo>
                  <a:pt x="246306" y="1498807"/>
                  <a:pt x="222493" y="1558338"/>
                  <a:pt x="200268" y="1562307"/>
                </a:cubicBezTo>
                <a:cubicBezTo>
                  <a:pt x="178043" y="1566276"/>
                  <a:pt x="161375" y="1552782"/>
                  <a:pt x="128831" y="1519444"/>
                </a:cubicBezTo>
                <a:cubicBezTo>
                  <a:pt x="96287" y="1486107"/>
                  <a:pt x="21675" y="1455151"/>
                  <a:pt x="5006" y="1362282"/>
                </a:cubicBezTo>
                <a:cubicBezTo>
                  <a:pt x="-11663" y="1269413"/>
                  <a:pt x="17705" y="1043195"/>
                  <a:pt x="28818" y="962232"/>
                </a:cubicBezTo>
                <a:cubicBezTo>
                  <a:pt x="39930" y="881270"/>
                  <a:pt x="76443" y="906670"/>
                  <a:pt x="71681" y="876507"/>
                </a:cubicBezTo>
                <a:cubicBezTo>
                  <a:pt x="66918" y="846345"/>
                  <a:pt x="-551" y="814594"/>
                  <a:pt x="243" y="781257"/>
                </a:cubicBezTo>
                <a:cubicBezTo>
                  <a:pt x="1037" y="747920"/>
                  <a:pt x="72474" y="734426"/>
                  <a:pt x="76443" y="676482"/>
                </a:cubicBezTo>
                <a:cubicBezTo>
                  <a:pt x="80412" y="618538"/>
                  <a:pt x="16912" y="497888"/>
                  <a:pt x="24056" y="433594"/>
                </a:cubicBezTo>
                <a:cubicBezTo>
                  <a:pt x="31200" y="369300"/>
                  <a:pt x="26437" y="346282"/>
                  <a:pt x="100256" y="290719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23" name="TextBox 22"/>
          <p:cNvSpPr txBox="1"/>
          <p:nvPr/>
        </p:nvSpPr>
        <p:spPr>
          <a:xfrm>
            <a:off x="3510587" y="2188104"/>
            <a:ext cx="1145832" cy="254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04" b="1" dirty="0"/>
              <a:t>Хмельницький</a:t>
            </a:r>
          </a:p>
        </p:txBody>
      </p:sp>
      <p:sp>
        <p:nvSpPr>
          <p:cNvPr id="24" name="Полілінія 23"/>
          <p:cNvSpPr/>
          <p:nvPr/>
        </p:nvSpPr>
        <p:spPr>
          <a:xfrm>
            <a:off x="4135409" y="2335498"/>
            <a:ext cx="1325113" cy="1115116"/>
          </a:xfrm>
          <a:custGeom>
            <a:avLst/>
            <a:gdLst>
              <a:gd name="connsiteX0" fmla="*/ 66829 w 1715695"/>
              <a:gd name="connsiteY0" fmla="*/ 1067461 h 1443800"/>
              <a:gd name="connsiteX1" fmla="*/ 154 w 1715695"/>
              <a:gd name="connsiteY1" fmla="*/ 943636 h 1443800"/>
              <a:gd name="connsiteX2" fmla="*/ 47779 w 1715695"/>
              <a:gd name="connsiteY2" fmla="*/ 872198 h 1443800"/>
              <a:gd name="connsiteX3" fmla="*/ 23967 w 1715695"/>
              <a:gd name="connsiteY3" fmla="*/ 643598 h 1443800"/>
              <a:gd name="connsiteX4" fmla="*/ 85879 w 1715695"/>
              <a:gd name="connsiteY4" fmla="*/ 600736 h 1443800"/>
              <a:gd name="connsiteX5" fmla="*/ 104929 w 1715695"/>
              <a:gd name="connsiteY5" fmla="*/ 572161 h 1443800"/>
              <a:gd name="connsiteX6" fmla="*/ 171604 w 1715695"/>
              <a:gd name="connsiteY6" fmla="*/ 548348 h 1443800"/>
              <a:gd name="connsiteX7" fmla="*/ 285904 w 1715695"/>
              <a:gd name="connsiteY7" fmla="*/ 572161 h 1443800"/>
              <a:gd name="connsiteX8" fmla="*/ 362104 w 1715695"/>
              <a:gd name="connsiteY8" fmla="*/ 538823 h 1443800"/>
              <a:gd name="connsiteX9" fmla="*/ 338292 w 1715695"/>
              <a:gd name="connsiteY9" fmla="*/ 476911 h 1443800"/>
              <a:gd name="connsiteX10" fmla="*/ 352579 w 1715695"/>
              <a:gd name="connsiteY10" fmla="*/ 438811 h 1443800"/>
              <a:gd name="connsiteX11" fmla="*/ 262092 w 1715695"/>
              <a:gd name="connsiteY11" fmla="*/ 272123 h 1443800"/>
              <a:gd name="connsiteX12" fmla="*/ 314479 w 1715695"/>
              <a:gd name="connsiteY12" fmla="*/ 119723 h 1443800"/>
              <a:gd name="connsiteX13" fmla="*/ 900267 w 1715695"/>
              <a:gd name="connsiteY13" fmla="*/ 81623 h 1443800"/>
              <a:gd name="connsiteX14" fmla="*/ 895504 w 1715695"/>
              <a:gd name="connsiteY14" fmla="*/ 72098 h 1443800"/>
              <a:gd name="connsiteX15" fmla="*/ 976467 w 1715695"/>
              <a:gd name="connsiteY15" fmla="*/ 661 h 1443800"/>
              <a:gd name="connsiteX16" fmla="*/ 985992 w 1715695"/>
              <a:gd name="connsiteY16" fmla="*/ 119723 h 1443800"/>
              <a:gd name="connsiteX17" fmla="*/ 1024092 w 1715695"/>
              <a:gd name="connsiteY17" fmla="*/ 243548 h 1443800"/>
              <a:gd name="connsiteX18" fmla="*/ 1295554 w 1715695"/>
              <a:gd name="connsiteY18" fmla="*/ 205448 h 1443800"/>
              <a:gd name="connsiteX19" fmla="*/ 1366992 w 1715695"/>
              <a:gd name="connsiteY19" fmla="*/ 300698 h 1443800"/>
              <a:gd name="connsiteX20" fmla="*/ 1347942 w 1715695"/>
              <a:gd name="connsiteY20" fmla="*/ 348323 h 1443800"/>
              <a:gd name="connsiteX21" fmla="*/ 1319367 w 1715695"/>
              <a:gd name="connsiteY21" fmla="*/ 348323 h 1443800"/>
              <a:gd name="connsiteX22" fmla="*/ 1505104 w 1715695"/>
              <a:gd name="connsiteY22" fmla="*/ 572161 h 1443800"/>
              <a:gd name="connsiteX23" fmla="*/ 1405092 w 1715695"/>
              <a:gd name="connsiteY23" fmla="*/ 657886 h 1443800"/>
              <a:gd name="connsiteX24" fmla="*/ 1405092 w 1715695"/>
              <a:gd name="connsiteY24" fmla="*/ 700748 h 1443800"/>
              <a:gd name="connsiteX25" fmla="*/ 1462242 w 1715695"/>
              <a:gd name="connsiteY25" fmla="*/ 691223 h 1443800"/>
              <a:gd name="connsiteX26" fmla="*/ 1428904 w 1715695"/>
              <a:gd name="connsiteY26" fmla="*/ 738848 h 1443800"/>
              <a:gd name="connsiteX27" fmla="*/ 1486054 w 1715695"/>
              <a:gd name="connsiteY27" fmla="*/ 748373 h 1443800"/>
              <a:gd name="connsiteX28" fmla="*/ 1486054 w 1715695"/>
              <a:gd name="connsiteY28" fmla="*/ 819811 h 1443800"/>
              <a:gd name="connsiteX29" fmla="*/ 1500342 w 1715695"/>
              <a:gd name="connsiteY29" fmla="*/ 829336 h 1443800"/>
              <a:gd name="connsiteX30" fmla="*/ 1514629 w 1715695"/>
              <a:gd name="connsiteY30" fmla="*/ 891248 h 1443800"/>
              <a:gd name="connsiteX31" fmla="*/ 1576542 w 1715695"/>
              <a:gd name="connsiteY31" fmla="*/ 900773 h 1443800"/>
              <a:gd name="connsiteX32" fmla="*/ 1576542 w 1715695"/>
              <a:gd name="connsiteY32" fmla="*/ 929348 h 1443800"/>
              <a:gd name="connsiteX33" fmla="*/ 1633692 w 1715695"/>
              <a:gd name="connsiteY33" fmla="*/ 953161 h 1443800"/>
              <a:gd name="connsiteX34" fmla="*/ 1667029 w 1715695"/>
              <a:gd name="connsiteY34" fmla="*/ 1067461 h 1443800"/>
              <a:gd name="connsiteX35" fmla="*/ 1657504 w 1715695"/>
              <a:gd name="connsiteY35" fmla="*/ 1091273 h 1443800"/>
              <a:gd name="connsiteX36" fmla="*/ 1714654 w 1715695"/>
              <a:gd name="connsiteY36" fmla="*/ 1124611 h 1443800"/>
              <a:gd name="connsiteX37" fmla="*/ 1600354 w 1715695"/>
              <a:gd name="connsiteY37" fmla="*/ 1162711 h 1443800"/>
              <a:gd name="connsiteX38" fmla="*/ 1571779 w 1715695"/>
              <a:gd name="connsiteY38" fmla="*/ 1138898 h 1443800"/>
              <a:gd name="connsiteX39" fmla="*/ 1528917 w 1715695"/>
              <a:gd name="connsiteY39" fmla="*/ 1181761 h 1443800"/>
              <a:gd name="connsiteX40" fmla="*/ 1667029 w 1715695"/>
              <a:gd name="connsiteY40" fmla="*/ 1291298 h 1443800"/>
              <a:gd name="connsiteX41" fmla="*/ 1557492 w 1715695"/>
              <a:gd name="connsiteY41" fmla="*/ 1315111 h 1443800"/>
              <a:gd name="connsiteX42" fmla="*/ 1447954 w 1715695"/>
              <a:gd name="connsiteY42" fmla="*/ 1315111 h 1443800"/>
              <a:gd name="connsiteX43" fmla="*/ 1452717 w 1715695"/>
              <a:gd name="connsiteY43" fmla="*/ 1400836 h 1443800"/>
              <a:gd name="connsiteX44" fmla="*/ 1452717 w 1715695"/>
              <a:gd name="connsiteY44" fmla="*/ 1400836 h 1443800"/>
              <a:gd name="connsiteX45" fmla="*/ 1305079 w 1715695"/>
              <a:gd name="connsiteY45" fmla="*/ 1386548 h 1443800"/>
              <a:gd name="connsiteX46" fmla="*/ 1205067 w 1715695"/>
              <a:gd name="connsiteY46" fmla="*/ 1396073 h 1443800"/>
              <a:gd name="connsiteX47" fmla="*/ 1062192 w 1715695"/>
              <a:gd name="connsiteY47" fmla="*/ 1338923 h 1443800"/>
              <a:gd name="connsiteX48" fmla="*/ 962179 w 1715695"/>
              <a:gd name="connsiteY48" fmla="*/ 1443698 h 1443800"/>
              <a:gd name="connsiteX49" fmla="*/ 890742 w 1715695"/>
              <a:gd name="connsiteY49" fmla="*/ 1357973 h 1443800"/>
              <a:gd name="connsiteX50" fmla="*/ 719292 w 1715695"/>
              <a:gd name="connsiteY50" fmla="*/ 1338923 h 1443800"/>
              <a:gd name="connsiteX51" fmla="*/ 690717 w 1715695"/>
              <a:gd name="connsiteY51" fmla="*/ 1381786 h 1443800"/>
              <a:gd name="connsiteX52" fmla="*/ 638329 w 1715695"/>
              <a:gd name="connsiteY52" fmla="*/ 1348448 h 1443800"/>
              <a:gd name="connsiteX53" fmla="*/ 604992 w 1715695"/>
              <a:gd name="connsiteY53" fmla="*/ 1300823 h 1443800"/>
              <a:gd name="connsiteX54" fmla="*/ 581179 w 1715695"/>
              <a:gd name="connsiteY54" fmla="*/ 1257961 h 1443800"/>
              <a:gd name="connsiteX55" fmla="*/ 504979 w 1715695"/>
              <a:gd name="connsiteY55" fmla="*/ 1281773 h 1443800"/>
              <a:gd name="connsiteX56" fmla="*/ 290667 w 1715695"/>
              <a:gd name="connsiteY56" fmla="*/ 1129373 h 1443800"/>
              <a:gd name="connsiteX57" fmla="*/ 162079 w 1715695"/>
              <a:gd name="connsiteY57" fmla="*/ 1096036 h 1443800"/>
              <a:gd name="connsiteX58" fmla="*/ 66829 w 1715695"/>
              <a:gd name="connsiteY58" fmla="*/ 1067461 h 144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715695" h="1443800">
                <a:moveTo>
                  <a:pt x="66829" y="1067461"/>
                </a:moveTo>
                <a:cubicBezTo>
                  <a:pt x="39841" y="1042061"/>
                  <a:pt x="3329" y="976180"/>
                  <a:pt x="154" y="943636"/>
                </a:cubicBezTo>
                <a:cubicBezTo>
                  <a:pt x="-3021" y="911092"/>
                  <a:pt x="43810" y="922204"/>
                  <a:pt x="47779" y="872198"/>
                </a:cubicBezTo>
                <a:cubicBezTo>
                  <a:pt x="51748" y="822192"/>
                  <a:pt x="17617" y="688842"/>
                  <a:pt x="23967" y="643598"/>
                </a:cubicBezTo>
                <a:cubicBezTo>
                  <a:pt x="30317" y="598354"/>
                  <a:pt x="72385" y="612642"/>
                  <a:pt x="85879" y="600736"/>
                </a:cubicBezTo>
                <a:cubicBezTo>
                  <a:pt x="99373" y="588830"/>
                  <a:pt x="90642" y="580892"/>
                  <a:pt x="104929" y="572161"/>
                </a:cubicBezTo>
                <a:cubicBezTo>
                  <a:pt x="119216" y="563430"/>
                  <a:pt x="141442" y="548348"/>
                  <a:pt x="171604" y="548348"/>
                </a:cubicBezTo>
                <a:cubicBezTo>
                  <a:pt x="201766" y="548348"/>
                  <a:pt x="254154" y="573749"/>
                  <a:pt x="285904" y="572161"/>
                </a:cubicBezTo>
                <a:cubicBezTo>
                  <a:pt x="317654" y="570573"/>
                  <a:pt x="353373" y="554698"/>
                  <a:pt x="362104" y="538823"/>
                </a:cubicBezTo>
                <a:cubicBezTo>
                  <a:pt x="370835" y="522948"/>
                  <a:pt x="339879" y="493580"/>
                  <a:pt x="338292" y="476911"/>
                </a:cubicBezTo>
                <a:cubicBezTo>
                  <a:pt x="336705" y="460242"/>
                  <a:pt x="365279" y="472942"/>
                  <a:pt x="352579" y="438811"/>
                </a:cubicBezTo>
                <a:cubicBezTo>
                  <a:pt x="339879" y="404680"/>
                  <a:pt x="268442" y="325304"/>
                  <a:pt x="262092" y="272123"/>
                </a:cubicBezTo>
                <a:cubicBezTo>
                  <a:pt x="255742" y="218942"/>
                  <a:pt x="208117" y="151473"/>
                  <a:pt x="314479" y="119723"/>
                </a:cubicBezTo>
                <a:cubicBezTo>
                  <a:pt x="420842" y="87973"/>
                  <a:pt x="803430" y="89560"/>
                  <a:pt x="900267" y="81623"/>
                </a:cubicBezTo>
                <a:cubicBezTo>
                  <a:pt x="997105" y="73685"/>
                  <a:pt x="882804" y="85592"/>
                  <a:pt x="895504" y="72098"/>
                </a:cubicBezTo>
                <a:cubicBezTo>
                  <a:pt x="908204" y="58604"/>
                  <a:pt x="961386" y="-7277"/>
                  <a:pt x="976467" y="661"/>
                </a:cubicBezTo>
                <a:cubicBezTo>
                  <a:pt x="991548" y="8598"/>
                  <a:pt x="978055" y="79242"/>
                  <a:pt x="985992" y="119723"/>
                </a:cubicBezTo>
                <a:cubicBezTo>
                  <a:pt x="993929" y="160204"/>
                  <a:pt x="972498" y="229261"/>
                  <a:pt x="1024092" y="243548"/>
                </a:cubicBezTo>
                <a:cubicBezTo>
                  <a:pt x="1075686" y="257835"/>
                  <a:pt x="1238404" y="195923"/>
                  <a:pt x="1295554" y="205448"/>
                </a:cubicBezTo>
                <a:cubicBezTo>
                  <a:pt x="1352704" y="214973"/>
                  <a:pt x="1358261" y="276886"/>
                  <a:pt x="1366992" y="300698"/>
                </a:cubicBezTo>
                <a:cubicBezTo>
                  <a:pt x="1375723" y="324510"/>
                  <a:pt x="1355879" y="340386"/>
                  <a:pt x="1347942" y="348323"/>
                </a:cubicBezTo>
                <a:cubicBezTo>
                  <a:pt x="1340005" y="356260"/>
                  <a:pt x="1293173" y="311017"/>
                  <a:pt x="1319367" y="348323"/>
                </a:cubicBezTo>
                <a:cubicBezTo>
                  <a:pt x="1345561" y="385629"/>
                  <a:pt x="1490817" y="520567"/>
                  <a:pt x="1505104" y="572161"/>
                </a:cubicBezTo>
                <a:cubicBezTo>
                  <a:pt x="1519391" y="623755"/>
                  <a:pt x="1421761" y="636455"/>
                  <a:pt x="1405092" y="657886"/>
                </a:cubicBezTo>
                <a:cubicBezTo>
                  <a:pt x="1388423" y="679317"/>
                  <a:pt x="1395567" y="695192"/>
                  <a:pt x="1405092" y="700748"/>
                </a:cubicBezTo>
                <a:cubicBezTo>
                  <a:pt x="1414617" y="706304"/>
                  <a:pt x="1458273" y="684873"/>
                  <a:pt x="1462242" y="691223"/>
                </a:cubicBezTo>
                <a:cubicBezTo>
                  <a:pt x="1466211" y="697573"/>
                  <a:pt x="1424935" y="729323"/>
                  <a:pt x="1428904" y="738848"/>
                </a:cubicBezTo>
                <a:cubicBezTo>
                  <a:pt x="1432873" y="748373"/>
                  <a:pt x="1476529" y="734879"/>
                  <a:pt x="1486054" y="748373"/>
                </a:cubicBezTo>
                <a:cubicBezTo>
                  <a:pt x="1495579" y="761867"/>
                  <a:pt x="1486054" y="819811"/>
                  <a:pt x="1486054" y="819811"/>
                </a:cubicBezTo>
                <a:cubicBezTo>
                  <a:pt x="1488435" y="833305"/>
                  <a:pt x="1495580" y="817430"/>
                  <a:pt x="1500342" y="829336"/>
                </a:cubicBezTo>
                <a:cubicBezTo>
                  <a:pt x="1505105" y="841242"/>
                  <a:pt x="1501929" y="879342"/>
                  <a:pt x="1514629" y="891248"/>
                </a:cubicBezTo>
                <a:cubicBezTo>
                  <a:pt x="1527329" y="903154"/>
                  <a:pt x="1566223" y="894423"/>
                  <a:pt x="1576542" y="900773"/>
                </a:cubicBezTo>
                <a:cubicBezTo>
                  <a:pt x="1586861" y="907123"/>
                  <a:pt x="1567017" y="920617"/>
                  <a:pt x="1576542" y="929348"/>
                </a:cubicBezTo>
                <a:cubicBezTo>
                  <a:pt x="1586067" y="938079"/>
                  <a:pt x="1618611" y="930142"/>
                  <a:pt x="1633692" y="953161"/>
                </a:cubicBezTo>
                <a:cubicBezTo>
                  <a:pt x="1648773" y="976180"/>
                  <a:pt x="1663060" y="1044442"/>
                  <a:pt x="1667029" y="1067461"/>
                </a:cubicBezTo>
                <a:cubicBezTo>
                  <a:pt x="1670998" y="1090480"/>
                  <a:pt x="1649567" y="1081748"/>
                  <a:pt x="1657504" y="1091273"/>
                </a:cubicBezTo>
                <a:cubicBezTo>
                  <a:pt x="1665441" y="1100798"/>
                  <a:pt x="1724179" y="1112705"/>
                  <a:pt x="1714654" y="1124611"/>
                </a:cubicBezTo>
                <a:cubicBezTo>
                  <a:pt x="1705129" y="1136517"/>
                  <a:pt x="1624167" y="1160330"/>
                  <a:pt x="1600354" y="1162711"/>
                </a:cubicBezTo>
                <a:cubicBezTo>
                  <a:pt x="1576541" y="1165092"/>
                  <a:pt x="1583685" y="1135723"/>
                  <a:pt x="1571779" y="1138898"/>
                </a:cubicBezTo>
                <a:cubicBezTo>
                  <a:pt x="1559873" y="1142073"/>
                  <a:pt x="1513042" y="1156361"/>
                  <a:pt x="1528917" y="1181761"/>
                </a:cubicBezTo>
                <a:cubicBezTo>
                  <a:pt x="1544792" y="1207161"/>
                  <a:pt x="1662267" y="1269073"/>
                  <a:pt x="1667029" y="1291298"/>
                </a:cubicBezTo>
                <a:cubicBezTo>
                  <a:pt x="1671792" y="1313523"/>
                  <a:pt x="1594005" y="1311142"/>
                  <a:pt x="1557492" y="1315111"/>
                </a:cubicBezTo>
                <a:cubicBezTo>
                  <a:pt x="1520980" y="1319080"/>
                  <a:pt x="1465416" y="1300824"/>
                  <a:pt x="1447954" y="1315111"/>
                </a:cubicBezTo>
                <a:cubicBezTo>
                  <a:pt x="1430492" y="1329398"/>
                  <a:pt x="1452717" y="1400836"/>
                  <a:pt x="1452717" y="1400836"/>
                </a:cubicBezTo>
                <a:lnTo>
                  <a:pt x="1452717" y="1400836"/>
                </a:lnTo>
                <a:cubicBezTo>
                  <a:pt x="1428111" y="1398455"/>
                  <a:pt x="1346354" y="1387342"/>
                  <a:pt x="1305079" y="1386548"/>
                </a:cubicBezTo>
                <a:cubicBezTo>
                  <a:pt x="1263804" y="1385754"/>
                  <a:pt x="1245548" y="1404010"/>
                  <a:pt x="1205067" y="1396073"/>
                </a:cubicBezTo>
                <a:cubicBezTo>
                  <a:pt x="1164586" y="1388136"/>
                  <a:pt x="1102673" y="1330986"/>
                  <a:pt x="1062192" y="1338923"/>
                </a:cubicBezTo>
                <a:cubicBezTo>
                  <a:pt x="1021711" y="1346860"/>
                  <a:pt x="990754" y="1440523"/>
                  <a:pt x="962179" y="1443698"/>
                </a:cubicBezTo>
                <a:cubicBezTo>
                  <a:pt x="933604" y="1446873"/>
                  <a:pt x="931223" y="1375435"/>
                  <a:pt x="890742" y="1357973"/>
                </a:cubicBezTo>
                <a:cubicBezTo>
                  <a:pt x="850261" y="1340511"/>
                  <a:pt x="752629" y="1334954"/>
                  <a:pt x="719292" y="1338923"/>
                </a:cubicBezTo>
                <a:cubicBezTo>
                  <a:pt x="685955" y="1342892"/>
                  <a:pt x="704211" y="1380199"/>
                  <a:pt x="690717" y="1381786"/>
                </a:cubicBezTo>
                <a:cubicBezTo>
                  <a:pt x="677223" y="1383373"/>
                  <a:pt x="652616" y="1361942"/>
                  <a:pt x="638329" y="1348448"/>
                </a:cubicBezTo>
                <a:cubicBezTo>
                  <a:pt x="624042" y="1334954"/>
                  <a:pt x="614517" y="1315904"/>
                  <a:pt x="604992" y="1300823"/>
                </a:cubicBezTo>
                <a:cubicBezTo>
                  <a:pt x="595467" y="1285742"/>
                  <a:pt x="597848" y="1261136"/>
                  <a:pt x="581179" y="1257961"/>
                </a:cubicBezTo>
                <a:cubicBezTo>
                  <a:pt x="564510" y="1254786"/>
                  <a:pt x="553398" y="1303204"/>
                  <a:pt x="504979" y="1281773"/>
                </a:cubicBezTo>
                <a:cubicBezTo>
                  <a:pt x="456560" y="1260342"/>
                  <a:pt x="347817" y="1160329"/>
                  <a:pt x="290667" y="1129373"/>
                </a:cubicBezTo>
                <a:cubicBezTo>
                  <a:pt x="233517" y="1098417"/>
                  <a:pt x="198591" y="1103973"/>
                  <a:pt x="162079" y="1096036"/>
                </a:cubicBezTo>
                <a:cubicBezTo>
                  <a:pt x="125567" y="1088099"/>
                  <a:pt x="93817" y="1092861"/>
                  <a:pt x="66829" y="1067461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25" name="TextBox 24"/>
          <p:cNvSpPr txBox="1"/>
          <p:nvPr/>
        </p:nvSpPr>
        <p:spPr>
          <a:xfrm>
            <a:off x="4403060" y="2794684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Вінниця</a:t>
            </a:r>
            <a:endParaRPr lang="uk-UA" sz="945" b="1" dirty="0"/>
          </a:p>
        </p:txBody>
      </p:sp>
      <p:sp>
        <p:nvSpPr>
          <p:cNvPr id="26" name="Полілінія 25"/>
          <p:cNvSpPr/>
          <p:nvPr/>
        </p:nvSpPr>
        <p:spPr>
          <a:xfrm>
            <a:off x="5215715" y="2126897"/>
            <a:ext cx="1812637" cy="1073778"/>
          </a:xfrm>
          <a:custGeom>
            <a:avLst/>
            <a:gdLst>
              <a:gd name="connsiteX0" fmla="*/ 314366 w 2346917"/>
              <a:gd name="connsiteY0" fmla="*/ 1389732 h 1390277"/>
              <a:gd name="connsiteX1" fmla="*/ 253881 w 2346917"/>
              <a:gd name="connsiteY1" fmla="*/ 1368384 h 1390277"/>
              <a:gd name="connsiteX2" fmla="*/ 228975 w 2346917"/>
              <a:gd name="connsiteY2" fmla="*/ 1211833 h 1390277"/>
              <a:gd name="connsiteX3" fmla="*/ 168489 w 2346917"/>
              <a:gd name="connsiteY3" fmla="*/ 1204717 h 1390277"/>
              <a:gd name="connsiteX4" fmla="*/ 168489 w 2346917"/>
              <a:gd name="connsiteY4" fmla="*/ 1179811 h 1390277"/>
              <a:gd name="connsiteX5" fmla="*/ 104446 w 2346917"/>
              <a:gd name="connsiteY5" fmla="*/ 1169138 h 1390277"/>
              <a:gd name="connsiteX6" fmla="*/ 75982 w 2346917"/>
              <a:gd name="connsiteY6" fmla="*/ 1048166 h 1390277"/>
              <a:gd name="connsiteX7" fmla="*/ 83098 w 2346917"/>
              <a:gd name="connsiteY7" fmla="*/ 1016145 h 1390277"/>
              <a:gd name="connsiteX8" fmla="*/ 19054 w 2346917"/>
              <a:gd name="connsiteY8" fmla="*/ 1016145 h 1390277"/>
              <a:gd name="connsiteX9" fmla="*/ 47518 w 2346917"/>
              <a:gd name="connsiteY9" fmla="*/ 966333 h 1390277"/>
              <a:gd name="connsiteX10" fmla="*/ 1265 w 2346917"/>
              <a:gd name="connsiteY10" fmla="*/ 955659 h 1390277"/>
              <a:gd name="connsiteX11" fmla="*/ 108004 w 2346917"/>
              <a:gd name="connsiteY11" fmla="*/ 852478 h 1390277"/>
              <a:gd name="connsiteX12" fmla="*/ 357062 w 2346917"/>
              <a:gd name="connsiteY12" fmla="*/ 731506 h 1390277"/>
              <a:gd name="connsiteX13" fmla="*/ 435338 w 2346917"/>
              <a:gd name="connsiteY13" fmla="*/ 806224 h 1390277"/>
              <a:gd name="connsiteX14" fmla="*/ 499381 w 2346917"/>
              <a:gd name="connsiteY14" fmla="*/ 813340 h 1390277"/>
              <a:gd name="connsiteX15" fmla="*/ 510055 w 2346917"/>
              <a:gd name="connsiteY15" fmla="*/ 735064 h 1390277"/>
              <a:gd name="connsiteX16" fmla="*/ 833831 w 2346917"/>
              <a:gd name="connsiteY16" fmla="*/ 713717 h 1390277"/>
              <a:gd name="connsiteX17" fmla="*/ 979708 w 2346917"/>
              <a:gd name="connsiteY17" fmla="*/ 546492 h 1390277"/>
              <a:gd name="connsiteX18" fmla="*/ 993940 w 2346917"/>
              <a:gd name="connsiteY18" fmla="*/ 347245 h 1390277"/>
              <a:gd name="connsiteX19" fmla="*/ 1061542 w 2346917"/>
              <a:gd name="connsiteY19" fmla="*/ 297433 h 1390277"/>
              <a:gd name="connsiteX20" fmla="*/ 1161165 w 2346917"/>
              <a:gd name="connsiteY20" fmla="*/ 322339 h 1390277"/>
              <a:gd name="connsiteX21" fmla="*/ 1296368 w 2346917"/>
              <a:gd name="connsiteY21" fmla="*/ 333013 h 1390277"/>
              <a:gd name="connsiteX22" fmla="*/ 1502731 w 2346917"/>
              <a:gd name="connsiteY22" fmla="*/ 5679 h 1390277"/>
              <a:gd name="connsiteX23" fmla="*/ 1648608 w 2346917"/>
              <a:gd name="connsiteY23" fmla="*/ 133766 h 1390277"/>
              <a:gd name="connsiteX24" fmla="*/ 1766021 w 2346917"/>
              <a:gd name="connsiteY24" fmla="*/ 244064 h 1390277"/>
              <a:gd name="connsiteX25" fmla="*/ 1726883 w 2346917"/>
              <a:gd name="connsiteY25" fmla="*/ 300991 h 1390277"/>
              <a:gd name="connsiteX26" fmla="*/ 1815833 w 2346917"/>
              <a:gd name="connsiteY26" fmla="*/ 365035 h 1390277"/>
              <a:gd name="connsiteX27" fmla="*/ 1876318 w 2346917"/>
              <a:gd name="connsiteY27" fmla="*/ 429078 h 1390277"/>
              <a:gd name="connsiteX28" fmla="*/ 1997289 w 2346917"/>
              <a:gd name="connsiteY28" fmla="*/ 525144 h 1390277"/>
              <a:gd name="connsiteX29" fmla="*/ 1997289 w 2346917"/>
              <a:gd name="connsiteY29" fmla="*/ 589187 h 1390277"/>
              <a:gd name="connsiteX30" fmla="*/ 2331739 w 2346917"/>
              <a:gd name="connsiteY30" fmla="*/ 909405 h 1390277"/>
              <a:gd name="connsiteX31" fmla="*/ 2285486 w 2346917"/>
              <a:gd name="connsiteY31" fmla="*/ 944985 h 1390277"/>
              <a:gd name="connsiteX32" fmla="*/ 2246348 w 2346917"/>
              <a:gd name="connsiteY32" fmla="*/ 987681 h 1390277"/>
              <a:gd name="connsiteX33" fmla="*/ 2185862 w 2346917"/>
              <a:gd name="connsiteY33" fmla="*/ 959217 h 1390277"/>
              <a:gd name="connsiteX34" fmla="*/ 2221442 w 2346917"/>
              <a:gd name="connsiteY34" fmla="*/ 927195 h 1390277"/>
              <a:gd name="connsiteX35" fmla="*/ 2143166 w 2346917"/>
              <a:gd name="connsiteY35" fmla="*/ 948543 h 1390277"/>
              <a:gd name="connsiteX36" fmla="*/ 2057775 w 2346917"/>
              <a:gd name="connsiteY36" fmla="*/ 898731 h 1390277"/>
              <a:gd name="connsiteX37" fmla="*/ 2018637 w 2346917"/>
              <a:gd name="connsiteY37" fmla="*/ 973449 h 1390277"/>
              <a:gd name="connsiteX38" fmla="*/ 1815833 w 2346917"/>
              <a:gd name="connsiteY38" fmla="*/ 1009029 h 1390277"/>
              <a:gd name="connsiteX39" fmla="*/ 1801601 w 2346917"/>
              <a:gd name="connsiteY39" fmla="*/ 937869 h 1390277"/>
              <a:gd name="connsiteX40" fmla="*/ 1605912 w 2346917"/>
              <a:gd name="connsiteY40" fmla="*/ 973449 h 1390277"/>
              <a:gd name="connsiteX41" fmla="*/ 1588122 w 2346917"/>
              <a:gd name="connsiteY41" fmla="*/ 1055282 h 1390277"/>
              <a:gd name="connsiteX42" fmla="*/ 1538310 w 2346917"/>
              <a:gd name="connsiteY42" fmla="*/ 1033934 h 1390277"/>
              <a:gd name="connsiteX43" fmla="*/ 1499173 w 2346917"/>
              <a:gd name="connsiteY43" fmla="*/ 1033934 h 1390277"/>
              <a:gd name="connsiteX44" fmla="*/ 1477825 w 2346917"/>
              <a:gd name="connsiteY44" fmla="*/ 1065956 h 1390277"/>
              <a:gd name="connsiteX45" fmla="*/ 1410223 w 2346917"/>
              <a:gd name="connsiteY45" fmla="*/ 1033934 h 1390277"/>
              <a:gd name="connsiteX46" fmla="*/ 1331948 w 2346917"/>
              <a:gd name="connsiteY46" fmla="*/ 1019703 h 1390277"/>
              <a:gd name="connsiteX47" fmla="*/ 1250114 w 2346917"/>
              <a:gd name="connsiteY47" fmla="*/ 1044608 h 1390277"/>
              <a:gd name="connsiteX48" fmla="*/ 1225208 w 2346917"/>
              <a:gd name="connsiteY48" fmla="*/ 1044608 h 1390277"/>
              <a:gd name="connsiteX49" fmla="*/ 1239440 w 2346917"/>
              <a:gd name="connsiteY49" fmla="*/ 1105094 h 1390277"/>
              <a:gd name="connsiteX50" fmla="*/ 1114911 w 2346917"/>
              <a:gd name="connsiteY50" fmla="*/ 1172696 h 1390277"/>
              <a:gd name="connsiteX51" fmla="*/ 716418 w 2346917"/>
              <a:gd name="connsiteY51" fmla="*/ 1151348 h 1390277"/>
              <a:gd name="connsiteX52" fmla="*/ 606121 w 2346917"/>
              <a:gd name="connsiteY52" fmla="*/ 1315015 h 1390277"/>
              <a:gd name="connsiteX53" fmla="*/ 559867 w 2346917"/>
              <a:gd name="connsiteY53" fmla="*/ 1290109 h 1390277"/>
              <a:gd name="connsiteX54" fmla="*/ 502939 w 2346917"/>
              <a:gd name="connsiteY54" fmla="*/ 1332804 h 1390277"/>
              <a:gd name="connsiteX55" fmla="*/ 413990 w 2346917"/>
              <a:gd name="connsiteY55" fmla="*/ 1350594 h 1390277"/>
              <a:gd name="connsiteX56" fmla="*/ 392642 w 2346917"/>
              <a:gd name="connsiteY56" fmla="*/ 1375500 h 1390277"/>
              <a:gd name="connsiteX57" fmla="*/ 314366 w 2346917"/>
              <a:gd name="connsiteY57" fmla="*/ 1389732 h 139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346917" h="1390277">
                <a:moveTo>
                  <a:pt x="314366" y="1389732"/>
                </a:moveTo>
                <a:cubicBezTo>
                  <a:pt x="291239" y="1388546"/>
                  <a:pt x="268113" y="1398034"/>
                  <a:pt x="253881" y="1368384"/>
                </a:cubicBezTo>
                <a:cubicBezTo>
                  <a:pt x="239649" y="1338734"/>
                  <a:pt x="243207" y="1239111"/>
                  <a:pt x="228975" y="1211833"/>
                </a:cubicBezTo>
                <a:cubicBezTo>
                  <a:pt x="214743" y="1184555"/>
                  <a:pt x="178570" y="1210054"/>
                  <a:pt x="168489" y="1204717"/>
                </a:cubicBezTo>
                <a:cubicBezTo>
                  <a:pt x="158408" y="1199380"/>
                  <a:pt x="179163" y="1185741"/>
                  <a:pt x="168489" y="1179811"/>
                </a:cubicBezTo>
                <a:cubicBezTo>
                  <a:pt x="157815" y="1173881"/>
                  <a:pt x="119864" y="1191079"/>
                  <a:pt x="104446" y="1169138"/>
                </a:cubicBezTo>
                <a:cubicBezTo>
                  <a:pt x="89028" y="1147197"/>
                  <a:pt x="79540" y="1073665"/>
                  <a:pt x="75982" y="1048166"/>
                </a:cubicBezTo>
                <a:cubicBezTo>
                  <a:pt x="72424" y="1022667"/>
                  <a:pt x="92586" y="1021482"/>
                  <a:pt x="83098" y="1016145"/>
                </a:cubicBezTo>
                <a:cubicBezTo>
                  <a:pt x="73610" y="1010808"/>
                  <a:pt x="24984" y="1024447"/>
                  <a:pt x="19054" y="1016145"/>
                </a:cubicBezTo>
                <a:cubicBezTo>
                  <a:pt x="13124" y="1007843"/>
                  <a:pt x="50483" y="976414"/>
                  <a:pt x="47518" y="966333"/>
                </a:cubicBezTo>
                <a:cubicBezTo>
                  <a:pt x="44553" y="956252"/>
                  <a:pt x="-8816" y="974635"/>
                  <a:pt x="1265" y="955659"/>
                </a:cubicBezTo>
                <a:cubicBezTo>
                  <a:pt x="11346" y="936683"/>
                  <a:pt x="48704" y="889837"/>
                  <a:pt x="108004" y="852478"/>
                </a:cubicBezTo>
                <a:cubicBezTo>
                  <a:pt x="167303" y="815119"/>
                  <a:pt x="302506" y="739215"/>
                  <a:pt x="357062" y="731506"/>
                </a:cubicBezTo>
                <a:cubicBezTo>
                  <a:pt x="411618" y="723797"/>
                  <a:pt x="411618" y="792585"/>
                  <a:pt x="435338" y="806224"/>
                </a:cubicBezTo>
                <a:cubicBezTo>
                  <a:pt x="459058" y="819863"/>
                  <a:pt x="486928" y="825200"/>
                  <a:pt x="499381" y="813340"/>
                </a:cubicBezTo>
                <a:cubicBezTo>
                  <a:pt x="511834" y="801480"/>
                  <a:pt x="454313" y="751668"/>
                  <a:pt x="510055" y="735064"/>
                </a:cubicBezTo>
                <a:cubicBezTo>
                  <a:pt x="565797" y="718460"/>
                  <a:pt x="755556" y="745146"/>
                  <a:pt x="833831" y="713717"/>
                </a:cubicBezTo>
                <a:cubicBezTo>
                  <a:pt x="912106" y="682288"/>
                  <a:pt x="953023" y="607571"/>
                  <a:pt x="979708" y="546492"/>
                </a:cubicBezTo>
                <a:cubicBezTo>
                  <a:pt x="1006393" y="485413"/>
                  <a:pt x="980301" y="388755"/>
                  <a:pt x="993940" y="347245"/>
                </a:cubicBezTo>
                <a:cubicBezTo>
                  <a:pt x="1007579" y="305735"/>
                  <a:pt x="1033671" y="301584"/>
                  <a:pt x="1061542" y="297433"/>
                </a:cubicBezTo>
                <a:cubicBezTo>
                  <a:pt x="1089413" y="293282"/>
                  <a:pt x="1122027" y="316409"/>
                  <a:pt x="1161165" y="322339"/>
                </a:cubicBezTo>
                <a:cubicBezTo>
                  <a:pt x="1200303" y="328269"/>
                  <a:pt x="1239440" y="385790"/>
                  <a:pt x="1296368" y="333013"/>
                </a:cubicBezTo>
                <a:cubicBezTo>
                  <a:pt x="1353296" y="280236"/>
                  <a:pt x="1444024" y="38887"/>
                  <a:pt x="1502731" y="5679"/>
                </a:cubicBezTo>
                <a:cubicBezTo>
                  <a:pt x="1561438" y="-27529"/>
                  <a:pt x="1604726" y="94035"/>
                  <a:pt x="1648608" y="133766"/>
                </a:cubicBezTo>
                <a:cubicBezTo>
                  <a:pt x="1692490" y="173497"/>
                  <a:pt x="1752975" y="216193"/>
                  <a:pt x="1766021" y="244064"/>
                </a:cubicBezTo>
                <a:cubicBezTo>
                  <a:pt x="1779067" y="271935"/>
                  <a:pt x="1718581" y="280829"/>
                  <a:pt x="1726883" y="300991"/>
                </a:cubicBezTo>
                <a:cubicBezTo>
                  <a:pt x="1735185" y="321153"/>
                  <a:pt x="1790927" y="343687"/>
                  <a:pt x="1815833" y="365035"/>
                </a:cubicBezTo>
                <a:cubicBezTo>
                  <a:pt x="1840739" y="386383"/>
                  <a:pt x="1846075" y="402393"/>
                  <a:pt x="1876318" y="429078"/>
                </a:cubicBezTo>
                <a:cubicBezTo>
                  <a:pt x="1906561" y="455763"/>
                  <a:pt x="1977127" y="498459"/>
                  <a:pt x="1997289" y="525144"/>
                </a:cubicBezTo>
                <a:cubicBezTo>
                  <a:pt x="2017451" y="551829"/>
                  <a:pt x="1941547" y="525143"/>
                  <a:pt x="1997289" y="589187"/>
                </a:cubicBezTo>
                <a:cubicBezTo>
                  <a:pt x="2053031" y="653230"/>
                  <a:pt x="2283706" y="850105"/>
                  <a:pt x="2331739" y="909405"/>
                </a:cubicBezTo>
                <a:cubicBezTo>
                  <a:pt x="2379772" y="968705"/>
                  <a:pt x="2299718" y="931939"/>
                  <a:pt x="2285486" y="944985"/>
                </a:cubicBezTo>
                <a:cubicBezTo>
                  <a:pt x="2271254" y="958031"/>
                  <a:pt x="2262952" y="985309"/>
                  <a:pt x="2246348" y="987681"/>
                </a:cubicBezTo>
                <a:cubicBezTo>
                  <a:pt x="2229744" y="990053"/>
                  <a:pt x="2190013" y="969298"/>
                  <a:pt x="2185862" y="959217"/>
                </a:cubicBezTo>
                <a:cubicBezTo>
                  <a:pt x="2181711" y="949136"/>
                  <a:pt x="2228558" y="928974"/>
                  <a:pt x="2221442" y="927195"/>
                </a:cubicBezTo>
                <a:cubicBezTo>
                  <a:pt x="2214326" y="925416"/>
                  <a:pt x="2170444" y="953287"/>
                  <a:pt x="2143166" y="948543"/>
                </a:cubicBezTo>
                <a:cubicBezTo>
                  <a:pt x="2115888" y="943799"/>
                  <a:pt x="2078530" y="894580"/>
                  <a:pt x="2057775" y="898731"/>
                </a:cubicBezTo>
                <a:cubicBezTo>
                  <a:pt x="2037020" y="902882"/>
                  <a:pt x="2058961" y="955066"/>
                  <a:pt x="2018637" y="973449"/>
                </a:cubicBezTo>
                <a:cubicBezTo>
                  <a:pt x="1978313" y="991832"/>
                  <a:pt x="1852006" y="1014959"/>
                  <a:pt x="1815833" y="1009029"/>
                </a:cubicBezTo>
                <a:cubicBezTo>
                  <a:pt x="1779660" y="1003099"/>
                  <a:pt x="1836588" y="943799"/>
                  <a:pt x="1801601" y="937869"/>
                </a:cubicBezTo>
                <a:cubicBezTo>
                  <a:pt x="1766614" y="931939"/>
                  <a:pt x="1641492" y="953880"/>
                  <a:pt x="1605912" y="973449"/>
                </a:cubicBezTo>
                <a:cubicBezTo>
                  <a:pt x="1570332" y="993018"/>
                  <a:pt x="1599389" y="1045201"/>
                  <a:pt x="1588122" y="1055282"/>
                </a:cubicBezTo>
                <a:cubicBezTo>
                  <a:pt x="1576855" y="1065363"/>
                  <a:pt x="1553135" y="1037492"/>
                  <a:pt x="1538310" y="1033934"/>
                </a:cubicBezTo>
                <a:cubicBezTo>
                  <a:pt x="1523485" y="1030376"/>
                  <a:pt x="1509254" y="1028597"/>
                  <a:pt x="1499173" y="1033934"/>
                </a:cubicBezTo>
                <a:cubicBezTo>
                  <a:pt x="1489092" y="1039271"/>
                  <a:pt x="1492650" y="1065956"/>
                  <a:pt x="1477825" y="1065956"/>
                </a:cubicBezTo>
                <a:cubicBezTo>
                  <a:pt x="1463000" y="1065956"/>
                  <a:pt x="1434536" y="1041643"/>
                  <a:pt x="1410223" y="1033934"/>
                </a:cubicBezTo>
                <a:cubicBezTo>
                  <a:pt x="1385910" y="1026225"/>
                  <a:pt x="1358633" y="1017924"/>
                  <a:pt x="1331948" y="1019703"/>
                </a:cubicBezTo>
                <a:cubicBezTo>
                  <a:pt x="1305263" y="1021482"/>
                  <a:pt x="1267904" y="1040457"/>
                  <a:pt x="1250114" y="1044608"/>
                </a:cubicBezTo>
                <a:cubicBezTo>
                  <a:pt x="1232324" y="1048759"/>
                  <a:pt x="1226987" y="1034527"/>
                  <a:pt x="1225208" y="1044608"/>
                </a:cubicBezTo>
                <a:cubicBezTo>
                  <a:pt x="1223429" y="1054689"/>
                  <a:pt x="1257823" y="1083746"/>
                  <a:pt x="1239440" y="1105094"/>
                </a:cubicBezTo>
                <a:cubicBezTo>
                  <a:pt x="1221057" y="1126442"/>
                  <a:pt x="1202081" y="1164987"/>
                  <a:pt x="1114911" y="1172696"/>
                </a:cubicBezTo>
                <a:cubicBezTo>
                  <a:pt x="1027741" y="1180405"/>
                  <a:pt x="801216" y="1127628"/>
                  <a:pt x="716418" y="1151348"/>
                </a:cubicBezTo>
                <a:cubicBezTo>
                  <a:pt x="631620" y="1175068"/>
                  <a:pt x="632213" y="1291888"/>
                  <a:pt x="606121" y="1315015"/>
                </a:cubicBezTo>
                <a:cubicBezTo>
                  <a:pt x="580029" y="1338142"/>
                  <a:pt x="577064" y="1287144"/>
                  <a:pt x="559867" y="1290109"/>
                </a:cubicBezTo>
                <a:cubicBezTo>
                  <a:pt x="542670" y="1293074"/>
                  <a:pt x="527252" y="1322723"/>
                  <a:pt x="502939" y="1332804"/>
                </a:cubicBezTo>
                <a:cubicBezTo>
                  <a:pt x="478626" y="1342885"/>
                  <a:pt x="432373" y="1343478"/>
                  <a:pt x="413990" y="1350594"/>
                </a:cubicBezTo>
                <a:cubicBezTo>
                  <a:pt x="395607" y="1357710"/>
                  <a:pt x="408653" y="1375500"/>
                  <a:pt x="392642" y="1375500"/>
                </a:cubicBezTo>
                <a:cubicBezTo>
                  <a:pt x="376631" y="1375500"/>
                  <a:pt x="337493" y="1390918"/>
                  <a:pt x="314366" y="1389732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27" name="TextBox 26"/>
          <p:cNvSpPr txBox="1"/>
          <p:nvPr/>
        </p:nvSpPr>
        <p:spPr>
          <a:xfrm>
            <a:off x="5917838" y="2571860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Черкаси</a:t>
            </a:r>
            <a:endParaRPr lang="uk-UA" sz="1236" b="1" dirty="0"/>
          </a:p>
        </p:txBody>
      </p:sp>
      <p:sp>
        <p:nvSpPr>
          <p:cNvPr id="28" name="Полілінія 27"/>
          <p:cNvSpPr/>
          <p:nvPr/>
        </p:nvSpPr>
        <p:spPr>
          <a:xfrm>
            <a:off x="5311183" y="2823873"/>
            <a:ext cx="2018900" cy="780379"/>
          </a:xfrm>
          <a:custGeom>
            <a:avLst/>
            <a:gdLst>
              <a:gd name="connsiteX0" fmla="*/ 3556 w 2613977"/>
              <a:gd name="connsiteY0" fmla="*/ 545910 h 1010399"/>
              <a:gd name="connsiteX1" fmla="*/ 63087 w 2613977"/>
              <a:gd name="connsiteY1" fmla="*/ 541147 h 1010399"/>
              <a:gd name="connsiteX2" fmla="*/ 263112 w 2613977"/>
              <a:gd name="connsiteY2" fmla="*/ 488760 h 1010399"/>
              <a:gd name="connsiteX3" fmla="*/ 305975 w 2613977"/>
              <a:gd name="connsiteY3" fmla="*/ 481616 h 1010399"/>
              <a:gd name="connsiteX4" fmla="*/ 313119 w 2613977"/>
              <a:gd name="connsiteY4" fmla="*/ 462566 h 1010399"/>
              <a:gd name="connsiteX5" fmla="*/ 386937 w 2613977"/>
              <a:gd name="connsiteY5" fmla="*/ 441135 h 1010399"/>
              <a:gd name="connsiteX6" fmla="*/ 451231 w 2613977"/>
              <a:gd name="connsiteY6" fmla="*/ 388747 h 1010399"/>
              <a:gd name="connsiteX7" fmla="*/ 494094 w 2613977"/>
              <a:gd name="connsiteY7" fmla="*/ 426847 h 1010399"/>
              <a:gd name="connsiteX8" fmla="*/ 544100 w 2613977"/>
              <a:gd name="connsiteY8" fmla="*/ 314928 h 1010399"/>
              <a:gd name="connsiteX9" fmla="*/ 582200 w 2613977"/>
              <a:gd name="connsiteY9" fmla="*/ 260160 h 1010399"/>
              <a:gd name="connsiteX10" fmla="*/ 706025 w 2613977"/>
              <a:gd name="connsiteY10" fmla="*/ 257778 h 1010399"/>
              <a:gd name="connsiteX11" fmla="*/ 856044 w 2613977"/>
              <a:gd name="connsiteY11" fmla="*/ 267303 h 1010399"/>
              <a:gd name="connsiteX12" fmla="*/ 994156 w 2613977"/>
              <a:gd name="connsiteY12" fmla="*/ 281591 h 1010399"/>
              <a:gd name="connsiteX13" fmla="*/ 1134650 w 2613977"/>
              <a:gd name="connsiteY13" fmla="*/ 219678 h 1010399"/>
              <a:gd name="connsiteX14" fmla="*/ 1122744 w 2613977"/>
              <a:gd name="connsiteY14" fmla="*/ 145860 h 1010399"/>
              <a:gd name="connsiteX15" fmla="*/ 1187037 w 2613977"/>
              <a:gd name="connsiteY15" fmla="*/ 145860 h 1010399"/>
              <a:gd name="connsiteX16" fmla="*/ 1213231 w 2613977"/>
              <a:gd name="connsiteY16" fmla="*/ 117285 h 1010399"/>
              <a:gd name="connsiteX17" fmla="*/ 1301337 w 2613977"/>
              <a:gd name="connsiteY17" fmla="*/ 133953 h 1010399"/>
              <a:gd name="connsiteX18" fmla="*/ 1368012 w 2613977"/>
              <a:gd name="connsiteY18" fmla="*/ 167291 h 1010399"/>
              <a:gd name="connsiteX19" fmla="*/ 1398969 w 2613977"/>
              <a:gd name="connsiteY19" fmla="*/ 141097 h 1010399"/>
              <a:gd name="connsiteX20" fmla="*/ 1422781 w 2613977"/>
              <a:gd name="connsiteY20" fmla="*/ 138716 h 1010399"/>
              <a:gd name="connsiteX21" fmla="*/ 1472787 w 2613977"/>
              <a:gd name="connsiteY21" fmla="*/ 157766 h 1010399"/>
              <a:gd name="connsiteX22" fmla="*/ 1484694 w 2613977"/>
              <a:gd name="connsiteY22" fmla="*/ 88710 h 1010399"/>
              <a:gd name="connsiteX23" fmla="*/ 1589469 w 2613977"/>
              <a:gd name="connsiteY23" fmla="*/ 52991 h 1010399"/>
              <a:gd name="connsiteX24" fmla="*/ 1689481 w 2613977"/>
              <a:gd name="connsiteY24" fmla="*/ 41085 h 1010399"/>
              <a:gd name="connsiteX25" fmla="*/ 1687100 w 2613977"/>
              <a:gd name="connsiteY25" fmla="*/ 91091 h 1010399"/>
              <a:gd name="connsiteX26" fmla="*/ 1734725 w 2613977"/>
              <a:gd name="connsiteY26" fmla="*/ 110141 h 1010399"/>
              <a:gd name="connsiteX27" fmla="*/ 1934750 w 2613977"/>
              <a:gd name="connsiteY27" fmla="*/ 64897 h 1010399"/>
              <a:gd name="connsiteX28" fmla="*/ 1944275 w 2613977"/>
              <a:gd name="connsiteY28" fmla="*/ 603 h 1010399"/>
              <a:gd name="connsiteX29" fmla="*/ 1984756 w 2613977"/>
              <a:gd name="connsiteY29" fmla="*/ 33941 h 1010399"/>
              <a:gd name="connsiteX30" fmla="*/ 2056194 w 2613977"/>
              <a:gd name="connsiteY30" fmla="*/ 55372 h 1010399"/>
              <a:gd name="connsiteX31" fmla="*/ 2080006 w 2613977"/>
              <a:gd name="connsiteY31" fmla="*/ 38703 h 1010399"/>
              <a:gd name="connsiteX32" fmla="*/ 2091912 w 2613977"/>
              <a:gd name="connsiteY32" fmla="*/ 86328 h 1010399"/>
              <a:gd name="connsiteX33" fmla="*/ 2149062 w 2613977"/>
              <a:gd name="connsiteY33" fmla="*/ 86328 h 1010399"/>
              <a:gd name="connsiteX34" fmla="*/ 2194306 w 2613977"/>
              <a:gd name="connsiteY34" fmla="*/ 33941 h 1010399"/>
              <a:gd name="connsiteX35" fmla="*/ 2241931 w 2613977"/>
              <a:gd name="connsiteY35" fmla="*/ 55372 h 1010399"/>
              <a:gd name="connsiteX36" fmla="*/ 2327656 w 2613977"/>
              <a:gd name="connsiteY36" fmla="*/ 76803 h 1010399"/>
              <a:gd name="connsiteX37" fmla="*/ 2415762 w 2613977"/>
              <a:gd name="connsiteY37" fmla="*/ 95853 h 1010399"/>
              <a:gd name="connsiteX38" fmla="*/ 2413381 w 2613977"/>
              <a:gd name="connsiteY38" fmla="*/ 126810 h 1010399"/>
              <a:gd name="connsiteX39" fmla="*/ 2541969 w 2613977"/>
              <a:gd name="connsiteY39" fmla="*/ 126810 h 1010399"/>
              <a:gd name="connsiteX40" fmla="*/ 2544350 w 2613977"/>
              <a:gd name="connsiteY40" fmla="*/ 162528 h 1010399"/>
              <a:gd name="connsiteX41" fmla="*/ 2599119 w 2613977"/>
              <a:gd name="connsiteY41" fmla="*/ 169672 h 1010399"/>
              <a:gd name="connsiteX42" fmla="*/ 2596737 w 2613977"/>
              <a:gd name="connsiteY42" fmla="*/ 188722 h 1010399"/>
              <a:gd name="connsiteX43" fmla="*/ 2406237 w 2613977"/>
              <a:gd name="connsiteY43" fmla="*/ 207772 h 1010399"/>
              <a:gd name="connsiteX44" fmla="*/ 2406237 w 2613977"/>
              <a:gd name="connsiteY44" fmla="*/ 236347 h 1010399"/>
              <a:gd name="connsiteX45" fmla="*/ 2544350 w 2613977"/>
              <a:gd name="connsiteY45" fmla="*/ 293497 h 1010399"/>
              <a:gd name="connsiteX46" fmla="*/ 2539587 w 2613977"/>
              <a:gd name="connsiteY46" fmla="*/ 319691 h 1010399"/>
              <a:gd name="connsiteX47" fmla="*/ 2337181 w 2613977"/>
              <a:gd name="connsiteY47" fmla="*/ 407797 h 1010399"/>
              <a:gd name="connsiteX48" fmla="*/ 2384806 w 2613977"/>
              <a:gd name="connsiteY48" fmla="*/ 607822 h 1010399"/>
              <a:gd name="connsiteX49" fmla="*/ 2196687 w 2613977"/>
              <a:gd name="connsiteY49" fmla="*/ 703072 h 1010399"/>
              <a:gd name="connsiteX50" fmla="*/ 2180019 w 2613977"/>
              <a:gd name="connsiteY50" fmla="*/ 724503 h 1010399"/>
              <a:gd name="connsiteX51" fmla="*/ 2110962 w 2613977"/>
              <a:gd name="connsiteY51" fmla="*/ 800703 h 1010399"/>
              <a:gd name="connsiteX52" fmla="*/ 2053812 w 2613977"/>
              <a:gd name="connsiteY52" fmla="*/ 781653 h 1010399"/>
              <a:gd name="connsiteX53" fmla="*/ 1984756 w 2613977"/>
              <a:gd name="connsiteY53" fmla="*/ 812610 h 1010399"/>
              <a:gd name="connsiteX54" fmla="*/ 1875219 w 2613977"/>
              <a:gd name="connsiteY54" fmla="*/ 824516 h 1010399"/>
              <a:gd name="connsiteX55" fmla="*/ 1834737 w 2613977"/>
              <a:gd name="connsiteY55" fmla="*/ 974535 h 1010399"/>
              <a:gd name="connsiteX56" fmla="*/ 1656144 w 2613977"/>
              <a:gd name="connsiteY56" fmla="*/ 974535 h 1010399"/>
              <a:gd name="connsiteX57" fmla="*/ 1568037 w 2613977"/>
              <a:gd name="connsiteY57" fmla="*/ 974535 h 1010399"/>
              <a:gd name="connsiteX58" fmla="*/ 1494219 w 2613977"/>
              <a:gd name="connsiteY58" fmla="*/ 1010253 h 1010399"/>
              <a:gd name="connsiteX59" fmla="*/ 1453737 w 2613977"/>
              <a:gd name="connsiteY59" fmla="*/ 986441 h 1010399"/>
              <a:gd name="connsiteX60" fmla="*/ 1318006 w 2613977"/>
              <a:gd name="connsiteY60" fmla="*/ 967391 h 1010399"/>
              <a:gd name="connsiteX61" fmla="*/ 1337056 w 2613977"/>
              <a:gd name="connsiteY61" fmla="*/ 931672 h 1010399"/>
              <a:gd name="connsiteX62" fmla="*/ 1360869 w 2613977"/>
              <a:gd name="connsiteY62" fmla="*/ 912622 h 1010399"/>
              <a:gd name="connsiteX63" fmla="*/ 1253712 w 2613977"/>
              <a:gd name="connsiteY63" fmla="*/ 814991 h 1010399"/>
              <a:gd name="connsiteX64" fmla="*/ 1279906 w 2613977"/>
              <a:gd name="connsiteY64" fmla="*/ 800703 h 1010399"/>
              <a:gd name="connsiteX65" fmla="*/ 1268000 w 2613977"/>
              <a:gd name="connsiteY65" fmla="*/ 762603 h 1010399"/>
              <a:gd name="connsiteX66" fmla="*/ 1196562 w 2613977"/>
              <a:gd name="connsiteY66" fmla="*/ 736410 h 1010399"/>
              <a:gd name="connsiteX67" fmla="*/ 1129887 w 2613977"/>
              <a:gd name="connsiteY67" fmla="*/ 779272 h 1010399"/>
              <a:gd name="connsiteX68" fmla="*/ 1108456 w 2613977"/>
              <a:gd name="connsiteY68" fmla="*/ 741172 h 1010399"/>
              <a:gd name="connsiteX69" fmla="*/ 1075119 w 2613977"/>
              <a:gd name="connsiteY69" fmla="*/ 745935 h 1010399"/>
              <a:gd name="connsiteX70" fmla="*/ 1041781 w 2613977"/>
              <a:gd name="connsiteY70" fmla="*/ 743553 h 1010399"/>
              <a:gd name="connsiteX71" fmla="*/ 937006 w 2613977"/>
              <a:gd name="connsiteY71" fmla="*/ 743553 h 1010399"/>
              <a:gd name="connsiteX72" fmla="*/ 870331 w 2613977"/>
              <a:gd name="connsiteY72" fmla="*/ 662591 h 1010399"/>
              <a:gd name="connsiteX73" fmla="*/ 739362 w 2613977"/>
              <a:gd name="connsiteY73" fmla="*/ 717360 h 1010399"/>
              <a:gd name="connsiteX74" fmla="*/ 713169 w 2613977"/>
              <a:gd name="connsiteY74" fmla="*/ 698310 h 1010399"/>
              <a:gd name="connsiteX75" fmla="*/ 675069 w 2613977"/>
              <a:gd name="connsiteY75" fmla="*/ 717360 h 1010399"/>
              <a:gd name="connsiteX76" fmla="*/ 622681 w 2613977"/>
              <a:gd name="connsiteY76" fmla="*/ 688785 h 1010399"/>
              <a:gd name="connsiteX77" fmla="*/ 546481 w 2613977"/>
              <a:gd name="connsiteY77" fmla="*/ 712597 h 1010399"/>
              <a:gd name="connsiteX78" fmla="*/ 348837 w 2613977"/>
              <a:gd name="connsiteY78" fmla="*/ 705453 h 1010399"/>
              <a:gd name="connsiteX79" fmla="*/ 315500 w 2613977"/>
              <a:gd name="connsiteY79" fmla="*/ 741172 h 1010399"/>
              <a:gd name="connsiteX80" fmla="*/ 282162 w 2613977"/>
              <a:gd name="connsiteY80" fmla="*/ 722122 h 1010399"/>
              <a:gd name="connsiteX81" fmla="*/ 175006 w 2613977"/>
              <a:gd name="connsiteY81" fmla="*/ 724503 h 1010399"/>
              <a:gd name="connsiteX82" fmla="*/ 160719 w 2613977"/>
              <a:gd name="connsiteY82" fmla="*/ 688785 h 1010399"/>
              <a:gd name="connsiteX83" fmla="*/ 136906 w 2613977"/>
              <a:gd name="connsiteY83" fmla="*/ 686403 h 1010399"/>
              <a:gd name="connsiteX84" fmla="*/ 148812 w 2613977"/>
              <a:gd name="connsiteY84" fmla="*/ 660210 h 1010399"/>
              <a:gd name="connsiteX85" fmla="*/ 3556 w 2613977"/>
              <a:gd name="connsiteY85" fmla="*/ 545910 h 101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2613977" h="1010399">
                <a:moveTo>
                  <a:pt x="3556" y="545910"/>
                </a:moveTo>
                <a:cubicBezTo>
                  <a:pt x="-10731" y="526066"/>
                  <a:pt x="19828" y="550672"/>
                  <a:pt x="63087" y="541147"/>
                </a:cubicBezTo>
                <a:cubicBezTo>
                  <a:pt x="106346" y="531622"/>
                  <a:pt x="222631" y="498682"/>
                  <a:pt x="263112" y="488760"/>
                </a:cubicBezTo>
                <a:cubicBezTo>
                  <a:pt x="303593" y="478838"/>
                  <a:pt x="297641" y="485982"/>
                  <a:pt x="305975" y="481616"/>
                </a:cubicBezTo>
                <a:cubicBezTo>
                  <a:pt x="314310" y="477250"/>
                  <a:pt x="299625" y="469313"/>
                  <a:pt x="313119" y="462566"/>
                </a:cubicBezTo>
                <a:cubicBezTo>
                  <a:pt x="326613" y="455819"/>
                  <a:pt x="363918" y="453438"/>
                  <a:pt x="386937" y="441135"/>
                </a:cubicBezTo>
                <a:cubicBezTo>
                  <a:pt x="409956" y="428832"/>
                  <a:pt x="433372" y="391128"/>
                  <a:pt x="451231" y="388747"/>
                </a:cubicBezTo>
                <a:cubicBezTo>
                  <a:pt x="469091" y="386366"/>
                  <a:pt x="478616" y="439150"/>
                  <a:pt x="494094" y="426847"/>
                </a:cubicBezTo>
                <a:cubicBezTo>
                  <a:pt x="509572" y="414544"/>
                  <a:pt x="529416" y="342709"/>
                  <a:pt x="544100" y="314928"/>
                </a:cubicBezTo>
                <a:cubicBezTo>
                  <a:pt x="558784" y="287147"/>
                  <a:pt x="555213" y="269685"/>
                  <a:pt x="582200" y="260160"/>
                </a:cubicBezTo>
                <a:cubicBezTo>
                  <a:pt x="609187" y="250635"/>
                  <a:pt x="660384" y="256588"/>
                  <a:pt x="706025" y="257778"/>
                </a:cubicBezTo>
                <a:cubicBezTo>
                  <a:pt x="751666" y="258968"/>
                  <a:pt x="808022" y="263334"/>
                  <a:pt x="856044" y="267303"/>
                </a:cubicBezTo>
                <a:cubicBezTo>
                  <a:pt x="904066" y="271272"/>
                  <a:pt x="947722" y="289528"/>
                  <a:pt x="994156" y="281591"/>
                </a:cubicBezTo>
                <a:cubicBezTo>
                  <a:pt x="1040590" y="273653"/>
                  <a:pt x="1113219" y="242300"/>
                  <a:pt x="1134650" y="219678"/>
                </a:cubicBezTo>
                <a:cubicBezTo>
                  <a:pt x="1156081" y="197056"/>
                  <a:pt x="1114013" y="158163"/>
                  <a:pt x="1122744" y="145860"/>
                </a:cubicBezTo>
                <a:cubicBezTo>
                  <a:pt x="1131475" y="133557"/>
                  <a:pt x="1171956" y="150622"/>
                  <a:pt x="1187037" y="145860"/>
                </a:cubicBezTo>
                <a:cubicBezTo>
                  <a:pt x="1202118" y="141098"/>
                  <a:pt x="1194181" y="119269"/>
                  <a:pt x="1213231" y="117285"/>
                </a:cubicBezTo>
                <a:cubicBezTo>
                  <a:pt x="1232281" y="115300"/>
                  <a:pt x="1275540" y="125619"/>
                  <a:pt x="1301337" y="133953"/>
                </a:cubicBezTo>
                <a:cubicBezTo>
                  <a:pt x="1327134" y="142287"/>
                  <a:pt x="1351740" y="166100"/>
                  <a:pt x="1368012" y="167291"/>
                </a:cubicBezTo>
                <a:cubicBezTo>
                  <a:pt x="1384284" y="168482"/>
                  <a:pt x="1389841" y="145859"/>
                  <a:pt x="1398969" y="141097"/>
                </a:cubicBezTo>
                <a:cubicBezTo>
                  <a:pt x="1408097" y="136335"/>
                  <a:pt x="1410478" y="135938"/>
                  <a:pt x="1422781" y="138716"/>
                </a:cubicBezTo>
                <a:cubicBezTo>
                  <a:pt x="1435084" y="141494"/>
                  <a:pt x="1462468" y="166100"/>
                  <a:pt x="1472787" y="157766"/>
                </a:cubicBezTo>
                <a:cubicBezTo>
                  <a:pt x="1483106" y="149432"/>
                  <a:pt x="1465247" y="106172"/>
                  <a:pt x="1484694" y="88710"/>
                </a:cubicBezTo>
                <a:cubicBezTo>
                  <a:pt x="1504141" y="71248"/>
                  <a:pt x="1555338" y="60929"/>
                  <a:pt x="1589469" y="52991"/>
                </a:cubicBezTo>
                <a:cubicBezTo>
                  <a:pt x="1623600" y="45053"/>
                  <a:pt x="1673209" y="34735"/>
                  <a:pt x="1689481" y="41085"/>
                </a:cubicBezTo>
                <a:cubicBezTo>
                  <a:pt x="1705753" y="47435"/>
                  <a:pt x="1679559" y="79582"/>
                  <a:pt x="1687100" y="91091"/>
                </a:cubicBezTo>
                <a:cubicBezTo>
                  <a:pt x="1694641" y="102600"/>
                  <a:pt x="1693450" y="114507"/>
                  <a:pt x="1734725" y="110141"/>
                </a:cubicBezTo>
                <a:cubicBezTo>
                  <a:pt x="1776000" y="105775"/>
                  <a:pt x="1899825" y="83153"/>
                  <a:pt x="1934750" y="64897"/>
                </a:cubicBezTo>
                <a:cubicBezTo>
                  <a:pt x="1969675" y="46641"/>
                  <a:pt x="1935941" y="5762"/>
                  <a:pt x="1944275" y="603"/>
                </a:cubicBezTo>
                <a:cubicBezTo>
                  <a:pt x="1952609" y="-4556"/>
                  <a:pt x="1966103" y="24813"/>
                  <a:pt x="1984756" y="33941"/>
                </a:cubicBezTo>
                <a:cubicBezTo>
                  <a:pt x="2003409" y="43069"/>
                  <a:pt x="2040319" y="54578"/>
                  <a:pt x="2056194" y="55372"/>
                </a:cubicBezTo>
                <a:cubicBezTo>
                  <a:pt x="2072069" y="56166"/>
                  <a:pt x="2074053" y="33544"/>
                  <a:pt x="2080006" y="38703"/>
                </a:cubicBezTo>
                <a:cubicBezTo>
                  <a:pt x="2085959" y="43862"/>
                  <a:pt x="2080403" y="78390"/>
                  <a:pt x="2091912" y="86328"/>
                </a:cubicBezTo>
                <a:cubicBezTo>
                  <a:pt x="2103421" y="94265"/>
                  <a:pt x="2131996" y="95059"/>
                  <a:pt x="2149062" y="86328"/>
                </a:cubicBezTo>
                <a:cubicBezTo>
                  <a:pt x="2166128" y="77597"/>
                  <a:pt x="2178828" y="39100"/>
                  <a:pt x="2194306" y="33941"/>
                </a:cubicBezTo>
                <a:cubicBezTo>
                  <a:pt x="2209784" y="28782"/>
                  <a:pt x="2219706" y="48228"/>
                  <a:pt x="2241931" y="55372"/>
                </a:cubicBezTo>
                <a:cubicBezTo>
                  <a:pt x="2264156" y="62516"/>
                  <a:pt x="2298684" y="70056"/>
                  <a:pt x="2327656" y="76803"/>
                </a:cubicBezTo>
                <a:cubicBezTo>
                  <a:pt x="2356628" y="83550"/>
                  <a:pt x="2401475" y="87519"/>
                  <a:pt x="2415762" y="95853"/>
                </a:cubicBezTo>
                <a:cubicBezTo>
                  <a:pt x="2430049" y="104187"/>
                  <a:pt x="2392346" y="121650"/>
                  <a:pt x="2413381" y="126810"/>
                </a:cubicBezTo>
                <a:cubicBezTo>
                  <a:pt x="2434416" y="131970"/>
                  <a:pt x="2520141" y="120857"/>
                  <a:pt x="2541969" y="126810"/>
                </a:cubicBezTo>
                <a:cubicBezTo>
                  <a:pt x="2563797" y="132763"/>
                  <a:pt x="2534825" y="155384"/>
                  <a:pt x="2544350" y="162528"/>
                </a:cubicBezTo>
                <a:cubicBezTo>
                  <a:pt x="2553875" y="169672"/>
                  <a:pt x="2590388" y="165306"/>
                  <a:pt x="2599119" y="169672"/>
                </a:cubicBezTo>
                <a:cubicBezTo>
                  <a:pt x="2607850" y="174038"/>
                  <a:pt x="2628884" y="182372"/>
                  <a:pt x="2596737" y="188722"/>
                </a:cubicBezTo>
                <a:cubicBezTo>
                  <a:pt x="2564590" y="195072"/>
                  <a:pt x="2437987" y="199835"/>
                  <a:pt x="2406237" y="207772"/>
                </a:cubicBezTo>
                <a:cubicBezTo>
                  <a:pt x="2374487" y="215709"/>
                  <a:pt x="2383218" y="222060"/>
                  <a:pt x="2406237" y="236347"/>
                </a:cubicBezTo>
                <a:cubicBezTo>
                  <a:pt x="2429256" y="250634"/>
                  <a:pt x="2522125" y="279606"/>
                  <a:pt x="2544350" y="293497"/>
                </a:cubicBezTo>
                <a:cubicBezTo>
                  <a:pt x="2566575" y="307388"/>
                  <a:pt x="2574115" y="300641"/>
                  <a:pt x="2539587" y="319691"/>
                </a:cubicBezTo>
                <a:cubicBezTo>
                  <a:pt x="2505059" y="338741"/>
                  <a:pt x="2362978" y="359775"/>
                  <a:pt x="2337181" y="407797"/>
                </a:cubicBezTo>
                <a:cubicBezTo>
                  <a:pt x="2311384" y="455819"/>
                  <a:pt x="2408222" y="558610"/>
                  <a:pt x="2384806" y="607822"/>
                </a:cubicBezTo>
                <a:cubicBezTo>
                  <a:pt x="2361390" y="657035"/>
                  <a:pt x="2230818" y="683625"/>
                  <a:pt x="2196687" y="703072"/>
                </a:cubicBezTo>
                <a:cubicBezTo>
                  <a:pt x="2162556" y="722519"/>
                  <a:pt x="2194306" y="708231"/>
                  <a:pt x="2180019" y="724503"/>
                </a:cubicBezTo>
                <a:cubicBezTo>
                  <a:pt x="2165732" y="740775"/>
                  <a:pt x="2131996" y="791178"/>
                  <a:pt x="2110962" y="800703"/>
                </a:cubicBezTo>
                <a:cubicBezTo>
                  <a:pt x="2089928" y="810228"/>
                  <a:pt x="2074846" y="779669"/>
                  <a:pt x="2053812" y="781653"/>
                </a:cubicBezTo>
                <a:cubicBezTo>
                  <a:pt x="2032778" y="783637"/>
                  <a:pt x="2014521" y="805466"/>
                  <a:pt x="1984756" y="812610"/>
                </a:cubicBezTo>
                <a:cubicBezTo>
                  <a:pt x="1954991" y="819754"/>
                  <a:pt x="1900222" y="797529"/>
                  <a:pt x="1875219" y="824516"/>
                </a:cubicBezTo>
                <a:cubicBezTo>
                  <a:pt x="1850216" y="851503"/>
                  <a:pt x="1871249" y="949532"/>
                  <a:pt x="1834737" y="974535"/>
                </a:cubicBezTo>
                <a:cubicBezTo>
                  <a:pt x="1798225" y="999538"/>
                  <a:pt x="1656144" y="974535"/>
                  <a:pt x="1656144" y="974535"/>
                </a:cubicBezTo>
                <a:cubicBezTo>
                  <a:pt x="1611694" y="974535"/>
                  <a:pt x="1595025" y="968582"/>
                  <a:pt x="1568037" y="974535"/>
                </a:cubicBezTo>
                <a:cubicBezTo>
                  <a:pt x="1541050" y="980488"/>
                  <a:pt x="1513269" y="1008269"/>
                  <a:pt x="1494219" y="1010253"/>
                </a:cubicBezTo>
                <a:cubicBezTo>
                  <a:pt x="1475169" y="1012237"/>
                  <a:pt x="1483106" y="993585"/>
                  <a:pt x="1453737" y="986441"/>
                </a:cubicBezTo>
                <a:cubicBezTo>
                  <a:pt x="1424368" y="979297"/>
                  <a:pt x="1337453" y="976519"/>
                  <a:pt x="1318006" y="967391"/>
                </a:cubicBezTo>
                <a:cubicBezTo>
                  <a:pt x="1298559" y="958263"/>
                  <a:pt x="1329912" y="940800"/>
                  <a:pt x="1337056" y="931672"/>
                </a:cubicBezTo>
                <a:cubicBezTo>
                  <a:pt x="1344200" y="922544"/>
                  <a:pt x="1374760" y="932069"/>
                  <a:pt x="1360869" y="912622"/>
                </a:cubicBezTo>
                <a:cubicBezTo>
                  <a:pt x="1346978" y="893175"/>
                  <a:pt x="1267206" y="833644"/>
                  <a:pt x="1253712" y="814991"/>
                </a:cubicBezTo>
                <a:cubicBezTo>
                  <a:pt x="1240218" y="796338"/>
                  <a:pt x="1277525" y="809434"/>
                  <a:pt x="1279906" y="800703"/>
                </a:cubicBezTo>
                <a:cubicBezTo>
                  <a:pt x="1282287" y="791972"/>
                  <a:pt x="1281891" y="773319"/>
                  <a:pt x="1268000" y="762603"/>
                </a:cubicBezTo>
                <a:cubicBezTo>
                  <a:pt x="1254109" y="751887"/>
                  <a:pt x="1219581" y="733632"/>
                  <a:pt x="1196562" y="736410"/>
                </a:cubicBezTo>
                <a:cubicBezTo>
                  <a:pt x="1173543" y="739188"/>
                  <a:pt x="1144571" y="778478"/>
                  <a:pt x="1129887" y="779272"/>
                </a:cubicBezTo>
                <a:cubicBezTo>
                  <a:pt x="1115203" y="780066"/>
                  <a:pt x="1117584" y="746728"/>
                  <a:pt x="1108456" y="741172"/>
                </a:cubicBezTo>
                <a:cubicBezTo>
                  <a:pt x="1099328" y="735616"/>
                  <a:pt x="1086231" y="745538"/>
                  <a:pt x="1075119" y="745935"/>
                </a:cubicBezTo>
                <a:cubicBezTo>
                  <a:pt x="1064007" y="746332"/>
                  <a:pt x="1064800" y="743950"/>
                  <a:pt x="1041781" y="743553"/>
                </a:cubicBezTo>
                <a:cubicBezTo>
                  <a:pt x="1018762" y="743156"/>
                  <a:pt x="965581" y="757047"/>
                  <a:pt x="937006" y="743553"/>
                </a:cubicBezTo>
                <a:cubicBezTo>
                  <a:pt x="908431" y="730059"/>
                  <a:pt x="903272" y="666956"/>
                  <a:pt x="870331" y="662591"/>
                </a:cubicBezTo>
                <a:cubicBezTo>
                  <a:pt x="837390" y="658226"/>
                  <a:pt x="765556" y="711407"/>
                  <a:pt x="739362" y="717360"/>
                </a:cubicBezTo>
                <a:cubicBezTo>
                  <a:pt x="713168" y="723313"/>
                  <a:pt x="723884" y="698310"/>
                  <a:pt x="713169" y="698310"/>
                </a:cubicBezTo>
                <a:cubicBezTo>
                  <a:pt x="702454" y="698310"/>
                  <a:pt x="690150" y="718947"/>
                  <a:pt x="675069" y="717360"/>
                </a:cubicBezTo>
                <a:cubicBezTo>
                  <a:pt x="659988" y="715773"/>
                  <a:pt x="644112" y="689579"/>
                  <a:pt x="622681" y="688785"/>
                </a:cubicBezTo>
                <a:cubicBezTo>
                  <a:pt x="601250" y="687991"/>
                  <a:pt x="592122" y="709819"/>
                  <a:pt x="546481" y="712597"/>
                </a:cubicBezTo>
                <a:cubicBezTo>
                  <a:pt x="500840" y="715375"/>
                  <a:pt x="387334" y="700691"/>
                  <a:pt x="348837" y="705453"/>
                </a:cubicBezTo>
                <a:cubicBezTo>
                  <a:pt x="310340" y="710215"/>
                  <a:pt x="326612" y="738394"/>
                  <a:pt x="315500" y="741172"/>
                </a:cubicBezTo>
                <a:cubicBezTo>
                  <a:pt x="304388" y="743950"/>
                  <a:pt x="305578" y="724900"/>
                  <a:pt x="282162" y="722122"/>
                </a:cubicBezTo>
                <a:cubicBezTo>
                  <a:pt x="258746" y="719344"/>
                  <a:pt x="195246" y="730059"/>
                  <a:pt x="175006" y="724503"/>
                </a:cubicBezTo>
                <a:cubicBezTo>
                  <a:pt x="154766" y="718947"/>
                  <a:pt x="167069" y="695135"/>
                  <a:pt x="160719" y="688785"/>
                </a:cubicBezTo>
                <a:cubicBezTo>
                  <a:pt x="154369" y="682435"/>
                  <a:pt x="138890" y="691165"/>
                  <a:pt x="136906" y="686403"/>
                </a:cubicBezTo>
                <a:cubicBezTo>
                  <a:pt x="134922" y="681641"/>
                  <a:pt x="165878" y="679657"/>
                  <a:pt x="148812" y="660210"/>
                </a:cubicBezTo>
                <a:cubicBezTo>
                  <a:pt x="131746" y="640763"/>
                  <a:pt x="17843" y="565754"/>
                  <a:pt x="3556" y="545910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29" name="TextBox 28"/>
          <p:cNvSpPr txBox="1"/>
          <p:nvPr/>
        </p:nvSpPr>
        <p:spPr>
          <a:xfrm>
            <a:off x="5862156" y="3055441"/>
            <a:ext cx="1467927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Кропивницький</a:t>
            </a:r>
          </a:p>
        </p:txBody>
      </p:sp>
      <p:sp>
        <p:nvSpPr>
          <p:cNvPr id="30" name="Полілінія 29"/>
          <p:cNvSpPr/>
          <p:nvPr/>
        </p:nvSpPr>
        <p:spPr>
          <a:xfrm>
            <a:off x="4476456" y="3332689"/>
            <a:ext cx="1645577" cy="1838327"/>
          </a:xfrm>
          <a:custGeom>
            <a:avLst/>
            <a:gdLst>
              <a:gd name="connsiteX0" fmla="*/ 559403 w 2068797"/>
              <a:gd name="connsiteY0" fmla="*/ 149692 h 2316013"/>
              <a:gd name="connsiteX1" fmla="*/ 644684 w 2068797"/>
              <a:gd name="connsiteY1" fmla="*/ 12295 h 2316013"/>
              <a:gd name="connsiteX2" fmla="*/ 758392 w 2068797"/>
              <a:gd name="connsiteY2" fmla="*/ 116527 h 2316013"/>
              <a:gd name="connsiteX3" fmla="*/ 910002 w 2068797"/>
              <a:gd name="connsiteY3" fmla="*/ 69149 h 2316013"/>
              <a:gd name="connsiteX4" fmla="*/ 1052137 w 2068797"/>
              <a:gd name="connsiteY4" fmla="*/ 126003 h 2316013"/>
              <a:gd name="connsiteX5" fmla="*/ 1000021 w 2068797"/>
              <a:gd name="connsiteY5" fmla="*/ 107052 h 2316013"/>
              <a:gd name="connsiteX6" fmla="*/ 1047399 w 2068797"/>
              <a:gd name="connsiteY6" fmla="*/ 7557 h 2316013"/>
              <a:gd name="connsiteX7" fmla="*/ 1246388 w 2068797"/>
              <a:gd name="connsiteY7" fmla="*/ 12295 h 2316013"/>
              <a:gd name="connsiteX8" fmla="*/ 1270077 w 2068797"/>
              <a:gd name="connsiteY8" fmla="*/ 54936 h 2316013"/>
              <a:gd name="connsiteX9" fmla="*/ 1379047 w 2068797"/>
              <a:gd name="connsiteY9" fmla="*/ 45460 h 2316013"/>
              <a:gd name="connsiteX10" fmla="*/ 1393260 w 2068797"/>
              <a:gd name="connsiteY10" fmla="*/ 116527 h 2316013"/>
              <a:gd name="connsiteX11" fmla="*/ 1379047 w 2068797"/>
              <a:gd name="connsiteY11" fmla="*/ 173381 h 2316013"/>
              <a:gd name="connsiteX12" fmla="*/ 1431163 w 2068797"/>
              <a:gd name="connsiteY12" fmla="*/ 291827 h 2316013"/>
              <a:gd name="connsiteX13" fmla="*/ 1497492 w 2068797"/>
              <a:gd name="connsiteY13" fmla="*/ 324992 h 2316013"/>
              <a:gd name="connsiteX14" fmla="*/ 1506968 w 2068797"/>
              <a:gd name="connsiteY14" fmla="*/ 443437 h 2316013"/>
              <a:gd name="connsiteX15" fmla="*/ 1729646 w 2068797"/>
              <a:gd name="connsiteY15" fmla="*/ 448175 h 2316013"/>
              <a:gd name="connsiteX16" fmla="*/ 1791237 w 2068797"/>
              <a:gd name="connsiteY16" fmla="*/ 547669 h 2316013"/>
              <a:gd name="connsiteX17" fmla="*/ 1777024 w 2068797"/>
              <a:gd name="connsiteY17" fmla="*/ 670853 h 2316013"/>
              <a:gd name="connsiteX18" fmla="*/ 1810189 w 2068797"/>
              <a:gd name="connsiteY18" fmla="*/ 708755 h 2316013"/>
              <a:gd name="connsiteX19" fmla="*/ 1985488 w 2068797"/>
              <a:gd name="connsiteY19" fmla="*/ 732445 h 2316013"/>
              <a:gd name="connsiteX20" fmla="*/ 1966537 w 2068797"/>
              <a:gd name="connsiteY20" fmla="*/ 779823 h 2316013"/>
              <a:gd name="connsiteX21" fmla="*/ 2004439 w 2068797"/>
              <a:gd name="connsiteY21" fmla="*/ 817725 h 2316013"/>
              <a:gd name="connsiteX22" fmla="*/ 2066031 w 2068797"/>
              <a:gd name="connsiteY22" fmla="*/ 869841 h 2316013"/>
              <a:gd name="connsiteX23" fmla="*/ 2042342 w 2068797"/>
              <a:gd name="connsiteY23" fmla="*/ 955122 h 2316013"/>
              <a:gd name="connsiteX24" fmla="*/ 1904945 w 2068797"/>
              <a:gd name="connsiteY24" fmla="*/ 969336 h 2316013"/>
              <a:gd name="connsiteX25" fmla="*/ 1914421 w 2068797"/>
              <a:gd name="connsiteY25" fmla="*/ 1002500 h 2316013"/>
              <a:gd name="connsiteX26" fmla="*/ 1976012 w 2068797"/>
              <a:gd name="connsiteY26" fmla="*/ 1035665 h 2316013"/>
              <a:gd name="connsiteX27" fmla="*/ 1994964 w 2068797"/>
              <a:gd name="connsiteY27" fmla="*/ 1239392 h 2316013"/>
              <a:gd name="connsiteX28" fmla="*/ 1838616 w 2068797"/>
              <a:gd name="connsiteY28" fmla="*/ 1272556 h 2316013"/>
              <a:gd name="connsiteX29" fmla="*/ 1739121 w 2068797"/>
              <a:gd name="connsiteY29" fmla="*/ 1282032 h 2316013"/>
              <a:gd name="connsiteX30" fmla="*/ 1705956 w 2068797"/>
              <a:gd name="connsiteY30" fmla="*/ 1419429 h 2316013"/>
              <a:gd name="connsiteX31" fmla="*/ 1596987 w 2068797"/>
              <a:gd name="connsiteY31" fmla="*/ 1509448 h 2316013"/>
              <a:gd name="connsiteX32" fmla="*/ 1620676 w 2068797"/>
              <a:gd name="connsiteY32" fmla="*/ 1571039 h 2316013"/>
              <a:gd name="connsiteX33" fmla="*/ 1582773 w 2068797"/>
              <a:gd name="connsiteY33" fmla="*/ 1585253 h 2316013"/>
              <a:gd name="connsiteX34" fmla="*/ 1473803 w 2068797"/>
              <a:gd name="connsiteY34" fmla="*/ 1495234 h 2316013"/>
              <a:gd name="connsiteX35" fmla="*/ 1412211 w 2068797"/>
              <a:gd name="connsiteY35" fmla="*/ 1400478 h 2316013"/>
              <a:gd name="connsiteX36" fmla="*/ 1303241 w 2068797"/>
              <a:gd name="connsiteY36" fmla="*/ 1381526 h 2316013"/>
              <a:gd name="connsiteX37" fmla="*/ 1483279 w 2068797"/>
              <a:gd name="connsiteY37" fmla="*/ 1608942 h 2316013"/>
              <a:gd name="connsiteX38" fmla="*/ 1488017 w 2068797"/>
              <a:gd name="connsiteY38" fmla="*/ 1670534 h 2316013"/>
              <a:gd name="connsiteX39" fmla="*/ 1345882 w 2068797"/>
              <a:gd name="connsiteY39" fmla="*/ 1812668 h 2316013"/>
              <a:gd name="connsiteX40" fmla="*/ 1151631 w 2068797"/>
              <a:gd name="connsiteY40" fmla="*/ 1869522 h 2316013"/>
              <a:gd name="connsiteX41" fmla="*/ 1151631 w 2068797"/>
              <a:gd name="connsiteY41" fmla="*/ 1921638 h 2316013"/>
              <a:gd name="connsiteX42" fmla="*/ 1099515 w 2068797"/>
              <a:gd name="connsiteY42" fmla="*/ 1921638 h 2316013"/>
              <a:gd name="connsiteX43" fmla="*/ 1118466 w 2068797"/>
              <a:gd name="connsiteY43" fmla="*/ 1973754 h 2316013"/>
              <a:gd name="connsiteX44" fmla="*/ 1071088 w 2068797"/>
              <a:gd name="connsiteY44" fmla="*/ 1997444 h 2316013"/>
              <a:gd name="connsiteX45" fmla="*/ 1000021 w 2068797"/>
              <a:gd name="connsiteY45" fmla="*/ 1878998 h 2316013"/>
              <a:gd name="connsiteX46" fmla="*/ 962118 w 2068797"/>
              <a:gd name="connsiteY46" fmla="*/ 2096938 h 2316013"/>
              <a:gd name="connsiteX47" fmla="*/ 1071088 w 2068797"/>
              <a:gd name="connsiteY47" fmla="*/ 2201170 h 2316013"/>
              <a:gd name="connsiteX48" fmla="*/ 1009496 w 2068797"/>
              <a:gd name="connsiteY48" fmla="*/ 2305402 h 2316013"/>
              <a:gd name="connsiteX49" fmla="*/ 966856 w 2068797"/>
              <a:gd name="connsiteY49" fmla="*/ 2295926 h 2316013"/>
              <a:gd name="connsiteX50" fmla="*/ 891051 w 2068797"/>
              <a:gd name="connsiteY50" fmla="*/ 2158530 h 2316013"/>
              <a:gd name="connsiteX51" fmla="*/ 493074 w 2068797"/>
              <a:gd name="connsiteY51" fmla="*/ 2234335 h 2316013"/>
              <a:gd name="connsiteX52" fmla="*/ 398317 w 2068797"/>
              <a:gd name="connsiteY52" fmla="*/ 2205908 h 2316013"/>
              <a:gd name="connsiteX53" fmla="*/ 365152 w 2068797"/>
              <a:gd name="connsiteY53" fmla="*/ 2291189 h 2316013"/>
              <a:gd name="connsiteX54" fmla="*/ 137737 w 2068797"/>
              <a:gd name="connsiteY54" fmla="*/ 2205908 h 2316013"/>
              <a:gd name="connsiteX55" fmla="*/ 340 w 2068797"/>
              <a:gd name="connsiteY55" fmla="*/ 2092200 h 2316013"/>
              <a:gd name="connsiteX56" fmla="*/ 175639 w 2068797"/>
              <a:gd name="connsiteY56" fmla="*/ 2059035 h 2316013"/>
              <a:gd name="connsiteX57" fmla="*/ 208804 w 2068797"/>
              <a:gd name="connsiteY57" fmla="*/ 1954803 h 2316013"/>
              <a:gd name="connsiteX58" fmla="*/ 218280 w 2068797"/>
              <a:gd name="connsiteY58" fmla="*/ 1921638 h 2316013"/>
              <a:gd name="connsiteX59" fmla="*/ 379366 w 2068797"/>
              <a:gd name="connsiteY59" fmla="*/ 1817406 h 2316013"/>
              <a:gd name="connsiteX60" fmla="*/ 398317 w 2068797"/>
              <a:gd name="connsiteY60" fmla="*/ 1746339 h 2316013"/>
              <a:gd name="connsiteX61" fmla="*/ 507287 w 2068797"/>
              <a:gd name="connsiteY61" fmla="*/ 1698961 h 2316013"/>
              <a:gd name="connsiteX62" fmla="*/ 554665 w 2068797"/>
              <a:gd name="connsiteY62" fmla="*/ 1608942 h 2316013"/>
              <a:gd name="connsiteX63" fmla="*/ 587830 w 2068797"/>
              <a:gd name="connsiteY63" fmla="*/ 1537875 h 2316013"/>
              <a:gd name="connsiteX64" fmla="*/ 512025 w 2068797"/>
              <a:gd name="connsiteY64" fmla="*/ 1372051 h 2316013"/>
              <a:gd name="connsiteX65" fmla="*/ 668373 w 2068797"/>
              <a:gd name="connsiteY65" fmla="*/ 1291508 h 2316013"/>
              <a:gd name="connsiteX66" fmla="*/ 701538 w 2068797"/>
              <a:gd name="connsiteY66" fmla="*/ 1391002 h 2316013"/>
              <a:gd name="connsiteX67" fmla="*/ 853148 w 2068797"/>
              <a:gd name="connsiteY67" fmla="*/ 1343624 h 2316013"/>
              <a:gd name="connsiteX68" fmla="*/ 990545 w 2068797"/>
              <a:gd name="connsiteY68" fmla="*/ 1414691 h 2316013"/>
              <a:gd name="connsiteX69" fmla="*/ 1033186 w 2068797"/>
              <a:gd name="connsiteY69" fmla="*/ 1376789 h 2316013"/>
              <a:gd name="connsiteX70" fmla="*/ 1080564 w 2068797"/>
              <a:gd name="connsiteY70" fmla="*/ 1433642 h 2316013"/>
              <a:gd name="connsiteX71" fmla="*/ 1246388 w 2068797"/>
              <a:gd name="connsiteY71" fmla="*/ 1405216 h 2316013"/>
              <a:gd name="connsiteX72" fmla="*/ 1236912 w 2068797"/>
              <a:gd name="connsiteY72" fmla="*/ 1357837 h 2316013"/>
              <a:gd name="connsiteX73" fmla="*/ 1156369 w 2068797"/>
              <a:gd name="connsiteY73" fmla="*/ 1229916 h 2316013"/>
              <a:gd name="connsiteX74" fmla="*/ 1161107 w 2068797"/>
              <a:gd name="connsiteY74" fmla="*/ 1073568 h 2316013"/>
              <a:gd name="connsiteX75" fmla="*/ 928953 w 2068797"/>
              <a:gd name="connsiteY75" fmla="*/ 936171 h 2316013"/>
              <a:gd name="connsiteX76" fmla="*/ 962118 w 2068797"/>
              <a:gd name="connsiteY76" fmla="*/ 869841 h 2316013"/>
              <a:gd name="connsiteX77" fmla="*/ 895789 w 2068797"/>
              <a:gd name="connsiteY77" fmla="*/ 817725 h 2316013"/>
              <a:gd name="connsiteX78" fmla="*/ 947905 w 2068797"/>
              <a:gd name="connsiteY78" fmla="*/ 685066 h 2316013"/>
              <a:gd name="connsiteX79" fmla="*/ 914740 w 2068797"/>
              <a:gd name="connsiteY79" fmla="*/ 666115 h 2316013"/>
              <a:gd name="connsiteX80" fmla="*/ 857886 w 2068797"/>
              <a:gd name="connsiteY80" fmla="*/ 694542 h 2316013"/>
              <a:gd name="connsiteX81" fmla="*/ 639946 w 2068797"/>
              <a:gd name="connsiteY81" fmla="*/ 538194 h 2316013"/>
              <a:gd name="connsiteX82" fmla="*/ 682587 w 2068797"/>
              <a:gd name="connsiteY82" fmla="*/ 386583 h 2316013"/>
              <a:gd name="connsiteX83" fmla="*/ 720489 w 2068797"/>
              <a:gd name="connsiteY83" fmla="*/ 277613 h 2316013"/>
              <a:gd name="connsiteX84" fmla="*/ 696800 w 2068797"/>
              <a:gd name="connsiteY84" fmla="*/ 201808 h 2316013"/>
              <a:gd name="connsiteX85" fmla="*/ 663635 w 2068797"/>
              <a:gd name="connsiteY85" fmla="*/ 182857 h 2316013"/>
              <a:gd name="connsiteX86" fmla="*/ 620995 w 2068797"/>
              <a:gd name="connsiteY86" fmla="*/ 206546 h 2316013"/>
              <a:gd name="connsiteX87" fmla="*/ 559403 w 2068797"/>
              <a:gd name="connsiteY87" fmla="*/ 149692 h 2316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2068797" h="2316013">
                <a:moveTo>
                  <a:pt x="559403" y="149692"/>
                </a:moveTo>
                <a:cubicBezTo>
                  <a:pt x="563351" y="117317"/>
                  <a:pt x="611519" y="17823"/>
                  <a:pt x="644684" y="12295"/>
                </a:cubicBezTo>
                <a:cubicBezTo>
                  <a:pt x="677849" y="6767"/>
                  <a:pt x="714172" y="107051"/>
                  <a:pt x="758392" y="116527"/>
                </a:cubicBezTo>
                <a:cubicBezTo>
                  <a:pt x="802612" y="126003"/>
                  <a:pt x="861045" y="67570"/>
                  <a:pt x="910002" y="69149"/>
                </a:cubicBezTo>
                <a:cubicBezTo>
                  <a:pt x="958960" y="70728"/>
                  <a:pt x="1037134" y="119686"/>
                  <a:pt x="1052137" y="126003"/>
                </a:cubicBezTo>
                <a:cubicBezTo>
                  <a:pt x="1067140" y="132320"/>
                  <a:pt x="1000811" y="126793"/>
                  <a:pt x="1000021" y="107052"/>
                </a:cubicBezTo>
                <a:cubicBezTo>
                  <a:pt x="999231" y="87311"/>
                  <a:pt x="1006338" y="23350"/>
                  <a:pt x="1047399" y="7557"/>
                </a:cubicBezTo>
                <a:cubicBezTo>
                  <a:pt x="1088460" y="-8236"/>
                  <a:pt x="1209275" y="4398"/>
                  <a:pt x="1246388" y="12295"/>
                </a:cubicBezTo>
                <a:cubicBezTo>
                  <a:pt x="1283501" y="20192"/>
                  <a:pt x="1247967" y="49409"/>
                  <a:pt x="1270077" y="54936"/>
                </a:cubicBezTo>
                <a:cubicBezTo>
                  <a:pt x="1292187" y="60463"/>
                  <a:pt x="1358517" y="35195"/>
                  <a:pt x="1379047" y="45460"/>
                </a:cubicBezTo>
                <a:cubicBezTo>
                  <a:pt x="1399577" y="55725"/>
                  <a:pt x="1393260" y="95207"/>
                  <a:pt x="1393260" y="116527"/>
                </a:cubicBezTo>
                <a:cubicBezTo>
                  <a:pt x="1393260" y="137847"/>
                  <a:pt x="1372730" y="144164"/>
                  <a:pt x="1379047" y="173381"/>
                </a:cubicBezTo>
                <a:cubicBezTo>
                  <a:pt x="1385364" y="202598"/>
                  <a:pt x="1411422" y="266559"/>
                  <a:pt x="1431163" y="291827"/>
                </a:cubicBezTo>
                <a:cubicBezTo>
                  <a:pt x="1450904" y="317095"/>
                  <a:pt x="1484858" y="299724"/>
                  <a:pt x="1497492" y="324992"/>
                </a:cubicBezTo>
                <a:cubicBezTo>
                  <a:pt x="1510126" y="350260"/>
                  <a:pt x="1468276" y="422907"/>
                  <a:pt x="1506968" y="443437"/>
                </a:cubicBezTo>
                <a:cubicBezTo>
                  <a:pt x="1545660" y="463967"/>
                  <a:pt x="1682268" y="430803"/>
                  <a:pt x="1729646" y="448175"/>
                </a:cubicBezTo>
                <a:cubicBezTo>
                  <a:pt x="1777024" y="465547"/>
                  <a:pt x="1783341" y="510556"/>
                  <a:pt x="1791237" y="547669"/>
                </a:cubicBezTo>
                <a:cubicBezTo>
                  <a:pt x="1799133" y="584782"/>
                  <a:pt x="1773865" y="644005"/>
                  <a:pt x="1777024" y="670853"/>
                </a:cubicBezTo>
                <a:cubicBezTo>
                  <a:pt x="1780183" y="697701"/>
                  <a:pt x="1775445" y="698490"/>
                  <a:pt x="1810189" y="708755"/>
                </a:cubicBezTo>
                <a:cubicBezTo>
                  <a:pt x="1844933" y="719020"/>
                  <a:pt x="1959430" y="720600"/>
                  <a:pt x="1985488" y="732445"/>
                </a:cubicBezTo>
                <a:cubicBezTo>
                  <a:pt x="2011546" y="744290"/>
                  <a:pt x="1963379" y="765610"/>
                  <a:pt x="1966537" y="779823"/>
                </a:cubicBezTo>
                <a:cubicBezTo>
                  <a:pt x="1969696" y="794036"/>
                  <a:pt x="1987857" y="802722"/>
                  <a:pt x="2004439" y="817725"/>
                </a:cubicBezTo>
                <a:cubicBezTo>
                  <a:pt x="2021021" y="832728"/>
                  <a:pt x="2059714" y="846942"/>
                  <a:pt x="2066031" y="869841"/>
                </a:cubicBezTo>
                <a:cubicBezTo>
                  <a:pt x="2072348" y="892741"/>
                  <a:pt x="2069190" y="938540"/>
                  <a:pt x="2042342" y="955122"/>
                </a:cubicBezTo>
                <a:cubicBezTo>
                  <a:pt x="2015494" y="971705"/>
                  <a:pt x="1926265" y="961440"/>
                  <a:pt x="1904945" y="969336"/>
                </a:cubicBezTo>
                <a:cubicBezTo>
                  <a:pt x="1883625" y="977232"/>
                  <a:pt x="1902577" y="991445"/>
                  <a:pt x="1914421" y="1002500"/>
                </a:cubicBezTo>
                <a:cubicBezTo>
                  <a:pt x="1926265" y="1013555"/>
                  <a:pt x="1962588" y="996183"/>
                  <a:pt x="1976012" y="1035665"/>
                </a:cubicBezTo>
                <a:cubicBezTo>
                  <a:pt x="1989436" y="1075147"/>
                  <a:pt x="2017863" y="1199910"/>
                  <a:pt x="1994964" y="1239392"/>
                </a:cubicBezTo>
                <a:cubicBezTo>
                  <a:pt x="1972065" y="1278874"/>
                  <a:pt x="1881256" y="1265449"/>
                  <a:pt x="1838616" y="1272556"/>
                </a:cubicBezTo>
                <a:cubicBezTo>
                  <a:pt x="1795976" y="1279663"/>
                  <a:pt x="1761231" y="1257553"/>
                  <a:pt x="1739121" y="1282032"/>
                </a:cubicBezTo>
                <a:cubicBezTo>
                  <a:pt x="1717011" y="1306511"/>
                  <a:pt x="1729645" y="1381526"/>
                  <a:pt x="1705956" y="1419429"/>
                </a:cubicBezTo>
                <a:cubicBezTo>
                  <a:pt x="1682267" y="1457332"/>
                  <a:pt x="1611200" y="1484180"/>
                  <a:pt x="1596987" y="1509448"/>
                </a:cubicBezTo>
                <a:cubicBezTo>
                  <a:pt x="1582774" y="1534716"/>
                  <a:pt x="1623045" y="1558405"/>
                  <a:pt x="1620676" y="1571039"/>
                </a:cubicBezTo>
                <a:cubicBezTo>
                  <a:pt x="1618307" y="1583673"/>
                  <a:pt x="1607252" y="1597887"/>
                  <a:pt x="1582773" y="1585253"/>
                </a:cubicBezTo>
                <a:cubicBezTo>
                  <a:pt x="1558294" y="1572619"/>
                  <a:pt x="1502230" y="1526030"/>
                  <a:pt x="1473803" y="1495234"/>
                </a:cubicBezTo>
                <a:cubicBezTo>
                  <a:pt x="1445376" y="1464438"/>
                  <a:pt x="1440638" y="1419429"/>
                  <a:pt x="1412211" y="1400478"/>
                </a:cubicBezTo>
                <a:cubicBezTo>
                  <a:pt x="1383784" y="1381527"/>
                  <a:pt x="1291396" y="1346782"/>
                  <a:pt x="1303241" y="1381526"/>
                </a:cubicBezTo>
                <a:cubicBezTo>
                  <a:pt x="1315086" y="1416270"/>
                  <a:pt x="1452483" y="1560774"/>
                  <a:pt x="1483279" y="1608942"/>
                </a:cubicBezTo>
                <a:cubicBezTo>
                  <a:pt x="1514075" y="1657110"/>
                  <a:pt x="1510916" y="1636580"/>
                  <a:pt x="1488017" y="1670534"/>
                </a:cubicBezTo>
                <a:cubicBezTo>
                  <a:pt x="1465118" y="1704488"/>
                  <a:pt x="1401946" y="1779503"/>
                  <a:pt x="1345882" y="1812668"/>
                </a:cubicBezTo>
                <a:cubicBezTo>
                  <a:pt x="1289818" y="1845833"/>
                  <a:pt x="1184006" y="1851360"/>
                  <a:pt x="1151631" y="1869522"/>
                </a:cubicBezTo>
                <a:cubicBezTo>
                  <a:pt x="1119256" y="1887684"/>
                  <a:pt x="1160317" y="1912952"/>
                  <a:pt x="1151631" y="1921638"/>
                </a:cubicBezTo>
                <a:cubicBezTo>
                  <a:pt x="1142945" y="1930324"/>
                  <a:pt x="1105042" y="1912952"/>
                  <a:pt x="1099515" y="1921638"/>
                </a:cubicBezTo>
                <a:cubicBezTo>
                  <a:pt x="1093988" y="1930324"/>
                  <a:pt x="1123204" y="1961120"/>
                  <a:pt x="1118466" y="1973754"/>
                </a:cubicBezTo>
                <a:cubicBezTo>
                  <a:pt x="1113728" y="1986388"/>
                  <a:pt x="1090829" y="2013237"/>
                  <a:pt x="1071088" y="1997444"/>
                </a:cubicBezTo>
                <a:cubicBezTo>
                  <a:pt x="1051347" y="1981651"/>
                  <a:pt x="1018183" y="1862416"/>
                  <a:pt x="1000021" y="1878998"/>
                </a:cubicBezTo>
                <a:cubicBezTo>
                  <a:pt x="981859" y="1895580"/>
                  <a:pt x="950274" y="2043243"/>
                  <a:pt x="962118" y="2096938"/>
                </a:cubicBezTo>
                <a:cubicBezTo>
                  <a:pt x="973963" y="2150633"/>
                  <a:pt x="1063192" y="2166426"/>
                  <a:pt x="1071088" y="2201170"/>
                </a:cubicBezTo>
                <a:cubicBezTo>
                  <a:pt x="1078984" y="2235914"/>
                  <a:pt x="1026868" y="2289609"/>
                  <a:pt x="1009496" y="2305402"/>
                </a:cubicBezTo>
                <a:cubicBezTo>
                  <a:pt x="992124" y="2321195"/>
                  <a:pt x="986597" y="2320405"/>
                  <a:pt x="966856" y="2295926"/>
                </a:cubicBezTo>
                <a:cubicBezTo>
                  <a:pt x="947115" y="2271447"/>
                  <a:pt x="970015" y="2168795"/>
                  <a:pt x="891051" y="2158530"/>
                </a:cubicBezTo>
                <a:cubicBezTo>
                  <a:pt x="812087" y="2148265"/>
                  <a:pt x="575196" y="2226439"/>
                  <a:pt x="493074" y="2234335"/>
                </a:cubicBezTo>
                <a:cubicBezTo>
                  <a:pt x="410952" y="2242231"/>
                  <a:pt x="419637" y="2196432"/>
                  <a:pt x="398317" y="2205908"/>
                </a:cubicBezTo>
                <a:cubicBezTo>
                  <a:pt x="376997" y="2215384"/>
                  <a:pt x="408582" y="2291189"/>
                  <a:pt x="365152" y="2291189"/>
                </a:cubicBezTo>
                <a:cubicBezTo>
                  <a:pt x="321722" y="2291189"/>
                  <a:pt x="198539" y="2239073"/>
                  <a:pt x="137737" y="2205908"/>
                </a:cubicBezTo>
                <a:cubicBezTo>
                  <a:pt x="76935" y="2172743"/>
                  <a:pt x="-5977" y="2116679"/>
                  <a:pt x="340" y="2092200"/>
                </a:cubicBezTo>
                <a:cubicBezTo>
                  <a:pt x="6657" y="2067721"/>
                  <a:pt x="140895" y="2081934"/>
                  <a:pt x="175639" y="2059035"/>
                </a:cubicBezTo>
                <a:cubicBezTo>
                  <a:pt x="210383" y="2036136"/>
                  <a:pt x="201697" y="1977703"/>
                  <a:pt x="208804" y="1954803"/>
                </a:cubicBezTo>
                <a:cubicBezTo>
                  <a:pt x="215911" y="1931904"/>
                  <a:pt x="189853" y="1944538"/>
                  <a:pt x="218280" y="1921638"/>
                </a:cubicBezTo>
                <a:cubicBezTo>
                  <a:pt x="246707" y="1898739"/>
                  <a:pt x="349360" y="1846623"/>
                  <a:pt x="379366" y="1817406"/>
                </a:cubicBezTo>
                <a:cubicBezTo>
                  <a:pt x="409372" y="1788189"/>
                  <a:pt x="376997" y="1766080"/>
                  <a:pt x="398317" y="1746339"/>
                </a:cubicBezTo>
                <a:cubicBezTo>
                  <a:pt x="419637" y="1726598"/>
                  <a:pt x="481229" y="1721861"/>
                  <a:pt x="507287" y="1698961"/>
                </a:cubicBezTo>
                <a:cubicBezTo>
                  <a:pt x="533345" y="1676062"/>
                  <a:pt x="541241" y="1635790"/>
                  <a:pt x="554665" y="1608942"/>
                </a:cubicBezTo>
                <a:cubicBezTo>
                  <a:pt x="568089" y="1582094"/>
                  <a:pt x="594937" y="1577357"/>
                  <a:pt x="587830" y="1537875"/>
                </a:cubicBezTo>
                <a:cubicBezTo>
                  <a:pt x="580723" y="1498393"/>
                  <a:pt x="498601" y="1413112"/>
                  <a:pt x="512025" y="1372051"/>
                </a:cubicBezTo>
                <a:cubicBezTo>
                  <a:pt x="525449" y="1330990"/>
                  <a:pt x="636787" y="1288349"/>
                  <a:pt x="668373" y="1291508"/>
                </a:cubicBezTo>
                <a:cubicBezTo>
                  <a:pt x="699959" y="1294667"/>
                  <a:pt x="670742" y="1382316"/>
                  <a:pt x="701538" y="1391002"/>
                </a:cubicBezTo>
                <a:cubicBezTo>
                  <a:pt x="732334" y="1399688"/>
                  <a:pt x="804980" y="1339676"/>
                  <a:pt x="853148" y="1343624"/>
                </a:cubicBezTo>
                <a:cubicBezTo>
                  <a:pt x="901316" y="1347572"/>
                  <a:pt x="960539" y="1409164"/>
                  <a:pt x="990545" y="1414691"/>
                </a:cubicBezTo>
                <a:cubicBezTo>
                  <a:pt x="1020551" y="1420218"/>
                  <a:pt x="1018183" y="1373631"/>
                  <a:pt x="1033186" y="1376789"/>
                </a:cubicBezTo>
                <a:cubicBezTo>
                  <a:pt x="1048189" y="1379947"/>
                  <a:pt x="1045030" y="1428904"/>
                  <a:pt x="1080564" y="1433642"/>
                </a:cubicBezTo>
                <a:cubicBezTo>
                  <a:pt x="1116098" y="1438380"/>
                  <a:pt x="1220330" y="1417850"/>
                  <a:pt x="1246388" y="1405216"/>
                </a:cubicBezTo>
                <a:cubicBezTo>
                  <a:pt x="1272446" y="1392582"/>
                  <a:pt x="1251915" y="1387053"/>
                  <a:pt x="1236912" y="1357837"/>
                </a:cubicBezTo>
                <a:cubicBezTo>
                  <a:pt x="1221909" y="1328621"/>
                  <a:pt x="1169003" y="1277294"/>
                  <a:pt x="1156369" y="1229916"/>
                </a:cubicBezTo>
                <a:cubicBezTo>
                  <a:pt x="1143735" y="1182538"/>
                  <a:pt x="1199010" y="1122525"/>
                  <a:pt x="1161107" y="1073568"/>
                </a:cubicBezTo>
                <a:cubicBezTo>
                  <a:pt x="1123204" y="1024611"/>
                  <a:pt x="962118" y="970126"/>
                  <a:pt x="928953" y="936171"/>
                </a:cubicBezTo>
                <a:cubicBezTo>
                  <a:pt x="895788" y="902217"/>
                  <a:pt x="967645" y="889582"/>
                  <a:pt x="962118" y="869841"/>
                </a:cubicBezTo>
                <a:cubicBezTo>
                  <a:pt x="956591" y="850100"/>
                  <a:pt x="898158" y="848521"/>
                  <a:pt x="895789" y="817725"/>
                </a:cubicBezTo>
                <a:cubicBezTo>
                  <a:pt x="893420" y="786929"/>
                  <a:pt x="944747" y="710334"/>
                  <a:pt x="947905" y="685066"/>
                </a:cubicBezTo>
                <a:cubicBezTo>
                  <a:pt x="951064" y="659798"/>
                  <a:pt x="929743" y="664536"/>
                  <a:pt x="914740" y="666115"/>
                </a:cubicBezTo>
                <a:cubicBezTo>
                  <a:pt x="899737" y="667694"/>
                  <a:pt x="903685" y="715862"/>
                  <a:pt x="857886" y="694542"/>
                </a:cubicBezTo>
                <a:cubicBezTo>
                  <a:pt x="812087" y="673222"/>
                  <a:pt x="669163" y="589521"/>
                  <a:pt x="639946" y="538194"/>
                </a:cubicBezTo>
                <a:cubicBezTo>
                  <a:pt x="610730" y="486868"/>
                  <a:pt x="669163" y="430013"/>
                  <a:pt x="682587" y="386583"/>
                </a:cubicBezTo>
                <a:cubicBezTo>
                  <a:pt x="696011" y="343153"/>
                  <a:pt x="718120" y="308409"/>
                  <a:pt x="720489" y="277613"/>
                </a:cubicBezTo>
                <a:cubicBezTo>
                  <a:pt x="722858" y="246817"/>
                  <a:pt x="706276" y="217601"/>
                  <a:pt x="696800" y="201808"/>
                </a:cubicBezTo>
                <a:cubicBezTo>
                  <a:pt x="687324" y="186015"/>
                  <a:pt x="676269" y="182067"/>
                  <a:pt x="663635" y="182857"/>
                </a:cubicBezTo>
                <a:cubicBezTo>
                  <a:pt x="651001" y="183647"/>
                  <a:pt x="639157" y="205756"/>
                  <a:pt x="620995" y="206546"/>
                </a:cubicBezTo>
                <a:cubicBezTo>
                  <a:pt x="602833" y="207336"/>
                  <a:pt x="555455" y="182067"/>
                  <a:pt x="559403" y="149692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31" name="TextBox 30"/>
          <p:cNvSpPr txBox="1"/>
          <p:nvPr/>
        </p:nvSpPr>
        <p:spPr>
          <a:xfrm>
            <a:off x="5346648" y="4107278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Одеса</a:t>
            </a:r>
            <a:endParaRPr lang="uk-UA" sz="945" b="1" dirty="0"/>
          </a:p>
        </p:txBody>
      </p:sp>
      <p:sp>
        <p:nvSpPr>
          <p:cNvPr id="32" name="Полілінія 31"/>
          <p:cNvSpPr/>
          <p:nvPr/>
        </p:nvSpPr>
        <p:spPr>
          <a:xfrm>
            <a:off x="5575388" y="3315180"/>
            <a:ext cx="1444775" cy="986047"/>
          </a:xfrm>
          <a:custGeom>
            <a:avLst/>
            <a:gdLst>
              <a:gd name="connsiteX0" fmla="*/ 629971 w 1870626"/>
              <a:gd name="connsiteY0" fmla="*/ 1262060 h 1276688"/>
              <a:gd name="connsiteX1" fmla="*/ 605065 w 1870626"/>
              <a:gd name="connsiteY1" fmla="*/ 1059255 h 1276688"/>
              <a:gd name="connsiteX2" fmla="*/ 537463 w 1870626"/>
              <a:gd name="connsiteY2" fmla="*/ 1005885 h 1276688"/>
              <a:gd name="connsiteX3" fmla="*/ 562369 w 1870626"/>
              <a:gd name="connsiteY3" fmla="*/ 988095 h 1276688"/>
              <a:gd name="connsiteX4" fmla="*/ 665550 w 1870626"/>
              <a:gd name="connsiteY4" fmla="*/ 973864 h 1276688"/>
              <a:gd name="connsiteX5" fmla="*/ 686898 w 1870626"/>
              <a:gd name="connsiteY5" fmla="*/ 877798 h 1276688"/>
              <a:gd name="connsiteX6" fmla="*/ 590833 w 1870626"/>
              <a:gd name="connsiteY6" fmla="*/ 795965 h 1276688"/>
              <a:gd name="connsiteX7" fmla="*/ 626413 w 1870626"/>
              <a:gd name="connsiteY7" fmla="*/ 746153 h 1276688"/>
              <a:gd name="connsiteX8" fmla="*/ 412934 w 1870626"/>
              <a:gd name="connsiteY8" fmla="*/ 699899 h 1276688"/>
              <a:gd name="connsiteX9" fmla="*/ 405818 w 1870626"/>
              <a:gd name="connsiteY9" fmla="*/ 511327 h 1276688"/>
              <a:gd name="connsiteX10" fmla="*/ 320427 w 1870626"/>
              <a:gd name="connsiteY10" fmla="*/ 443725 h 1276688"/>
              <a:gd name="connsiteX11" fmla="*/ 121180 w 1870626"/>
              <a:gd name="connsiteY11" fmla="*/ 447283 h 1276688"/>
              <a:gd name="connsiteX12" fmla="*/ 124738 w 1870626"/>
              <a:gd name="connsiteY12" fmla="*/ 329870 h 1276688"/>
              <a:gd name="connsiteX13" fmla="*/ 21557 w 1870626"/>
              <a:gd name="connsiteY13" fmla="*/ 294290 h 1276688"/>
              <a:gd name="connsiteX14" fmla="*/ 209 w 1870626"/>
              <a:gd name="connsiteY14" fmla="*/ 194667 h 1276688"/>
              <a:gd name="connsiteX15" fmla="*/ 10883 w 1870626"/>
              <a:gd name="connsiteY15" fmla="*/ 109275 h 1276688"/>
              <a:gd name="connsiteX16" fmla="*/ 14441 w 1870626"/>
              <a:gd name="connsiteY16" fmla="*/ 66580 h 1276688"/>
              <a:gd name="connsiteX17" fmla="*/ 53578 w 1870626"/>
              <a:gd name="connsiteY17" fmla="*/ 45232 h 1276688"/>
              <a:gd name="connsiteX18" fmla="*/ 235035 w 1870626"/>
              <a:gd name="connsiteY18" fmla="*/ 59464 h 1276688"/>
              <a:gd name="connsiteX19" fmla="*/ 295521 w 1870626"/>
              <a:gd name="connsiteY19" fmla="*/ 27442 h 1276688"/>
              <a:gd name="connsiteX20" fmla="*/ 363122 w 1870626"/>
              <a:gd name="connsiteY20" fmla="*/ 55906 h 1276688"/>
              <a:gd name="connsiteX21" fmla="*/ 409376 w 1870626"/>
              <a:gd name="connsiteY21" fmla="*/ 38116 h 1276688"/>
              <a:gd name="connsiteX22" fmla="*/ 437840 w 1870626"/>
              <a:gd name="connsiteY22" fmla="*/ 55906 h 1276688"/>
              <a:gd name="connsiteX23" fmla="*/ 501884 w 1870626"/>
              <a:gd name="connsiteY23" fmla="*/ 2536 h 1276688"/>
              <a:gd name="connsiteX24" fmla="*/ 597949 w 1870626"/>
              <a:gd name="connsiteY24" fmla="*/ 16768 h 1276688"/>
              <a:gd name="connsiteX25" fmla="*/ 633529 w 1870626"/>
              <a:gd name="connsiteY25" fmla="*/ 87927 h 1276688"/>
              <a:gd name="connsiteX26" fmla="*/ 733152 w 1870626"/>
              <a:gd name="connsiteY26" fmla="*/ 80811 h 1276688"/>
              <a:gd name="connsiteX27" fmla="*/ 768732 w 1870626"/>
              <a:gd name="connsiteY27" fmla="*/ 98601 h 1276688"/>
              <a:gd name="connsiteX28" fmla="*/ 800754 w 1870626"/>
              <a:gd name="connsiteY28" fmla="*/ 77253 h 1276688"/>
              <a:gd name="connsiteX29" fmla="*/ 822101 w 1870626"/>
              <a:gd name="connsiteY29" fmla="*/ 95043 h 1276688"/>
              <a:gd name="connsiteX30" fmla="*/ 814985 w 1870626"/>
              <a:gd name="connsiteY30" fmla="*/ 119949 h 1276688"/>
              <a:gd name="connsiteX31" fmla="*/ 825659 w 1870626"/>
              <a:gd name="connsiteY31" fmla="*/ 134181 h 1276688"/>
              <a:gd name="connsiteX32" fmla="*/ 893261 w 1870626"/>
              <a:gd name="connsiteY32" fmla="*/ 80811 h 1276688"/>
              <a:gd name="connsiteX33" fmla="*/ 975094 w 1870626"/>
              <a:gd name="connsiteY33" fmla="*/ 119949 h 1276688"/>
              <a:gd name="connsiteX34" fmla="*/ 950189 w 1870626"/>
              <a:gd name="connsiteY34" fmla="*/ 144855 h 1276688"/>
              <a:gd name="connsiteX35" fmla="*/ 989326 w 1870626"/>
              <a:gd name="connsiteY35" fmla="*/ 208899 h 1276688"/>
              <a:gd name="connsiteX36" fmla="*/ 1039138 w 1870626"/>
              <a:gd name="connsiteY36" fmla="*/ 255152 h 1276688"/>
              <a:gd name="connsiteX37" fmla="*/ 1014232 w 1870626"/>
              <a:gd name="connsiteY37" fmla="*/ 287174 h 1276688"/>
              <a:gd name="connsiteX38" fmla="*/ 1049812 w 1870626"/>
              <a:gd name="connsiteY38" fmla="*/ 319196 h 1276688"/>
              <a:gd name="connsiteX39" fmla="*/ 1163667 w 1870626"/>
              <a:gd name="connsiteY39" fmla="*/ 329870 h 1276688"/>
              <a:gd name="connsiteX40" fmla="*/ 1199247 w 1870626"/>
              <a:gd name="connsiteY40" fmla="*/ 369008 h 1276688"/>
              <a:gd name="connsiteX41" fmla="*/ 1291754 w 1870626"/>
              <a:gd name="connsiteY41" fmla="*/ 319196 h 1276688"/>
              <a:gd name="connsiteX42" fmla="*/ 1366472 w 1870626"/>
              <a:gd name="connsiteY42" fmla="*/ 312080 h 1276688"/>
              <a:gd name="connsiteX43" fmla="*/ 1498117 w 1870626"/>
              <a:gd name="connsiteY43" fmla="*/ 333428 h 1276688"/>
              <a:gd name="connsiteX44" fmla="*/ 1562161 w 1870626"/>
              <a:gd name="connsiteY44" fmla="*/ 290732 h 1276688"/>
              <a:gd name="connsiteX45" fmla="*/ 1558603 w 1870626"/>
              <a:gd name="connsiteY45" fmla="*/ 240920 h 1276688"/>
              <a:gd name="connsiteX46" fmla="*/ 1565719 w 1870626"/>
              <a:gd name="connsiteY46" fmla="*/ 191109 h 1276688"/>
              <a:gd name="connsiteX47" fmla="*/ 1594182 w 1870626"/>
              <a:gd name="connsiteY47" fmla="*/ 173319 h 1276688"/>
              <a:gd name="connsiteX48" fmla="*/ 1700922 w 1870626"/>
              <a:gd name="connsiteY48" fmla="*/ 173319 h 1276688"/>
              <a:gd name="connsiteX49" fmla="*/ 1722270 w 1870626"/>
              <a:gd name="connsiteY49" fmla="*/ 130623 h 1276688"/>
              <a:gd name="connsiteX50" fmla="*/ 1807661 w 1870626"/>
              <a:gd name="connsiteY50" fmla="*/ 141297 h 1276688"/>
              <a:gd name="connsiteX51" fmla="*/ 1800545 w 1870626"/>
              <a:gd name="connsiteY51" fmla="*/ 201783 h 1276688"/>
              <a:gd name="connsiteX52" fmla="*/ 1811219 w 1870626"/>
              <a:gd name="connsiteY52" fmla="*/ 240920 h 1276688"/>
              <a:gd name="connsiteX53" fmla="*/ 1821893 w 1870626"/>
              <a:gd name="connsiteY53" fmla="*/ 361892 h 1276688"/>
              <a:gd name="connsiteX54" fmla="*/ 1772081 w 1870626"/>
              <a:gd name="connsiteY54" fmla="*/ 408145 h 1276688"/>
              <a:gd name="connsiteX55" fmla="*/ 1804103 w 1870626"/>
              <a:gd name="connsiteY55" fmla="*/ 486421 h 1276688"/>
              <a:gd name="connsiteX56" fmla="*/ 1853915 w 1870626"/>
              <a:gd name="connsiteY56" fmla="*/ 493537 h 1276688"/>
              <a:gd name="connsiteX57" fmla="*/ 1857473 w 1870626"/>
              <a:gd name="connsiteY57" fmla="*/ 578928 h 1276688"/>
              <a:gd name="connsiteX58" fmla="*/ 1857473 w 1870626"/>
              <a:gd name="connsiteY58" fmla="*/ 578928 h 1276688"/>
              <a:gd name="connsiteX59" fmla="*/ 1829009 w 1870626"/>
              <a:gd name="connsiteY59" fmla="*/ 582486 h 1276688"/>
              <a:gd name="connsiteX60" fmla="*/ 1868147 w 1870626"/>
              <a:gd name="connsiteY60" fmla="*/ 781733 h 1276688"/>
              <a:gd name="connsiteX61" fmla="*/ 1743617 w 1870626"/>
              <a:gd name="connsiteY61" fmla="*/ 795965 h 1276688"/>
              <a:gd name="connsiteX62" fmla="*/ 1715154 w 1870626"/>
              <a:gd name="connsiteY62" fmla="*/ 845776 h 1276688"/>
              <a:gd name="connsiteX63" fmla="*/ 1839683 w 1870626"/>
              <a:gd name="connsiteY63" fmla="*/ 899146 h 1276688"/>
              <a:gd name="connsiteX64" fmla="*/ 1789871 w 1870626"/>
              <a:gd name="connsiteY64" fmla="*/ 956074 h 1276688"/>
              <a:gd name="connsiteX65" fmla="*/ 1754291 w 1870626"/>
              <a:gd name="connsiteY65" fmla="*/ 1005885 h 1276688"/>
              <a:gd name="connsiteX66" fmla="*/ 1711596 w 1870626"/>
              <a:gd name="connsiteY66" fmla="*/ 1005885 h 1276688"/>
              <a:gd name="connsiteX67" fmla="*/ 1708038 w 1870626"/>
              <a:gd name="connsiteY67" fmla="*/ 1055697 h 1276688"/>
              <a:gd name="connsiteX68" fmla="*/ 1572834 w 1870626"/>
              <a:gd name="connsiteY68" fmla="*/ 1041465 h 1276688"/>
              <a:gd name="connsiteX69" fmla="*/ 1505233 w 1870626"/>
              <a:gd name="connsiteY69" fmla="*/ 1059255 h 1276688"/>
              <a:gd name="connsiteX70" fmla="*/ 1405610 w 1870626"/>
              <a:gd name="connsiteY70" fmla="*/ 1052139 h 1276688"/>
              <a:gd name="connsiteX71" fmla="*/ 1366472 w 1870626"/>
              <a:gd name="connsiteY71" fmla="*/ 1094835 h 1276688"/>
              <a:gd name="connsiteX72" fmla="*/ 1298870 w 1870626"/>
              <a:gd name="connsiteY72" fmla="*/ 1084161 h 1276688"/>
              <a:gd name="connsiteX73" fmla="*/ 1273964 w 1870626"/>
              <a:gd name="connsiteY73" fmla="*/ 1133972 h 1276688"/>
              <a:gd name="connsiteX74" fmla="*/ 1217037 w 1870626"/>
              <a:gd name="connsiteY74" fmla="*/ 1123299 h 1276688"/>
              <a:gd name="connsiteX75" fmla="*/ 1103182 w 1870626"/>
              <a:gd name="connsiteY75" fmla="*/ 1162436 h 1276688"/>
              <a:gd name="connsiteX76" fmla="*/ 1081834 w 1870626"/>
              <a:gd name="connsiteY76" fmla="*/ 1133972 h 1276688"/>
              <a:gd name="connsiteX77" fmla="*/ 1064044 w 1870626"/>
              <a:gd name="connsiteY77" fmla="*/ 1237154 h 1276688"/>
              <a:gd name="connsiteX78" fmla="*/ 857681 w 1870626"/>
              <a:gd name="connsiteY78" fmla="*/ 1230038 h 1276688"/>
              <a:gd name="connsiteX79" fmla="*/ 825659 w 1870626"/>
              <a:gd name="connsiteY79" fmla="*/ 1183784 h 1276688"/>
              <a:gd name="connsiteX80" fmla="*/ 743826 w 1870626"/>
              <a:gd name="connsiteY80" fmla="*/ 1254944 h 1276688"/>
              <a:gd name="connsiteX81" fmla="*/ 629971 w 1870626"/>
              <a:gd name="connsiteY81" fmla="*/ 1262060 h 1276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1870626" h="1276688">
                <a:moveTo>
                  <a:pt x="629971" y="1262060"/>
                </a:moveTo>
                <a:cubicBezTo>
                  <a:pt x="606844" y="1229445"/>
                  <a:pt x="620483" y="1101951"/>
                  <a:pt x="605065" y="1059255"/>
                </a:cubicBezTo>
                <a:cubicBezTo>
                  <a:pt x="589647" y="1016559"/>
                  <a:pt x="544579" y="1017745"/>
                  <a:pt x="537463" y="1005885"/>
                </a:cubicBezTo>
                <a:cubicBezTo>
                  <a:pt x="530347" y="994025"/>
                  <a:pt x="541021" y="993432"/>
                  <a:pt x="562369" y="988095"/>
                </a:cubicBezTo>
                <a:cubicBezTo>
                  <a:pt x="583717" y="982758"/>
                  <a:pt x="644795" y="992247"/>
                  <a:pt x="665550" y="973864"/>
                </a:cubicBezTo>
                <a:cubicBezTo>
                  <a:pt x="686305" y="955481"/>
                  <a:pt x="699351" y="907448"/>
                  <a:pt x="686898" y="877798"/>
                </a:cubicBezTo>
                <a:cubicBezTo>
                  <a:pt x="674445" y="848148"/>
                  <a:pt x="600914" y="817906"/>
                  <a:pt x="590833" y="795965"/>
                </a:cubicBezTo>
                <a:cubicBezTo>
                  <a:pt x="580752" y="774024"/>
                  <a:pt x="656063" y="762164"/>
                  <a:pt x="626413" y="746153"/>
                </a:cubicBezTo>
                <a:cubicBezTo>
                  <a:pt x="596763" y="730142"/>
                  <a:pt x="449700" y="739037"/>
                  <a:pt x="412934" y="699899"/>
                </a:cubicBezTo>
                <a:cubicBezTo>
                  <a:pt x="376168" y="660761"/>
                  <a:pt x="421236" y="554023"/>
                  <a:pt x="405818" y="511327"/>
                </a:cubicBezTo>
                <a:cubicBezTo>
                  <a:pt x="390400" y="468631"/>
                  <a:pt x="367867" y="454399"/>
                  <a:pt x="320427" y="443725"/>
                </a:cubicBezTo>
                <a:cubicBezTo>
                  <a:pt x="272987" y="433051"/>
                  <a:pt x="153795" y="466259"/>
                  <a:pt x="121180" y="447283"/>
                </a:cubicBezTo>
                <a:cubicBezTo>
                  <a:pt x="88565" y="428307"/>
                  <a:pt x="141342" y="355369"/>
                  <a:pt x="124738" y="329870"/>
                </a:cubicBezTo>
                <a:cubicBezTo>
                  <a:pt x="108134" y="304371"/>
                  <a:pt x="42312" y="316824"/>
                  <a:pt x="21557" y="294290"/>
                </a:cubicBezTo>
                <a:cubicBezTo>
                  <a:pt x="802" y="271756"/>
                  <a:pt x="1988" y="225503"/>
                  <a:pt x="209" y="194667"/>
                </a:cubicBezTo>
                <a:cubicBezTo>
                  <a:pt x="-1570" y="163831"/>
                  <a:pt x="8511" y="130623"/>
                  <a:pt x="10883" y="109275"/>
                </a:cubicBezTo>
                <a:cubicBezTo>
                  <a:pt x="13255" y="87927"/>
                  <a:pt x="7325" y="77254"/>
                  <a:pt x="14441" y="66580"/>
                </a:cubicBezTo>
                <a:cubicBezTo>
                  <a:pt x="21557" y="55906"/>
                  <a:pt x="16812" y="46418"/>
                  <a:pt x="53578" y="45232"/>
                </a:cubicBezTo>
                <a:cubicBezTo>
                  <a:pt x="90344" y="44046"/>
                  <a:pt x="194711" y="62429"/>
                  <a:pt x="235035" y="59464"/>
                </a:cubicBezTo>
                <a:cubicBezTo>
                  <a:pt x="275359" y="56499"/>
                  <a:pt x="274173" y="28035"/>
                  <a:pt x="295521" y="27442"/>
                </a:cubicBezTo>
                <a:cubicBezTo>
                  <a:pt x="316869" y="26849"/>
                  <a:pt x="344146" y="54127"/>
                  <a:pt x="363122" y="55906"/>
                </a:cubicBezTo>
                <a:cubicBezTo>
                  <a:pt x="382098" y="57685"/>
                  <a:pt x="396923" y="38116"/>
                  <a:pt x="409376" y="38116"/>
                </a:cubicBezTo>
                <a:cubicBezTo>
                  <a:pt x="421829" y="38116"/>
                  <a:pt x="422422" y="61836"/>
                  <a:pt x="437840" y="55906"/>
                </a:cubicBezTo>
                <a:cubicBezTo>
                  <a:pt x="453258" y="49976"/>
                  <a:pt x="475199" y="9059"/>
                  <a:pt x="501884" y="2536"/>
                </a:cubicBezTo>
                <a:cubicBezTo>
                  <a:pt x="528569" y="-3987"/>
                  <a:pt x="576008" y="2536"/>
                  <a:pt x="597949" y="16768"/>
                </a:cubicBezTo>
                <a:cubicBezTo>
                  <a:pt x="619890" y="31000"/>
                  <a:pt x="610995" y="77253"/>
                  <a:pt x="633529" y="87927"/>
                </a:cubicBezTo>
                <a:cubicBezTo>
                  <a:pt x="656063" y="98601"/>
                  <a:pt x="710618" y="79032"/>
                  <a:pt x="733152" y="80811"/>
                </a:cubicBezTo>
                <a:cubicBezTo>
                  <a:pt x="755686" y="82590"/>
                  <a:pt x="757465" y="99194"/>
                  <a:pt x="768732" y="98601"/>
                </a:cubicBezTo>
                <a:cubicBezTo>
                  <a:pt x="779999" y="98008"/>
                  <a:pt x="791859" y="77846"/>
                  <a:pt x="800754" y="77253"/>
                </a:cubicBezTo>
                <a:cubicBezTo>
                  <a:pt x="809649" y="76660"/>
                  <a:pt x="819729" y="87927"/>
                  <a:pt x="822101" y="95043"/>
                </a:cubicBezTo>
                <a:cubicBezTo>
                  <a:pt x="824473" y="102159"/>
                  <a:pt x="814392" y="113426"/>
                  <a:pt x="814985" y="119949"/>
                </a:cubicBezTo>
                <a:cubicBezTo>
                  <a:pt x="815578" y="126472"/>
                  <a:pt x="812613" y="140704"/>
                  <a:pt x="825659" y="134181"/>
                </a:cubicBezTo>
                <a:cubicBezTo>
                  <a:pt x="838705" y="127658"/>
                  <a:pt x="868355" y="83183"/>
                  <a:pt x="893261" y="80811"/>
                </a:cubicBezTo>
                <a:cubicBezTo>
                  <a:pt x="918167" y="78439"/>
                  <a:pt x="965606" y="109275"/>
                  <a:pt x="975094" y="119949"/>
                </a:cubicBezTo>
                <a:cubicBezTo>
                  <a:pt x="984582" y="130623"/>
                  <a:pt x="947817" y="130030"/>
                  <a:pt x="950189" y="144855"/>
                </a:cubicBezTo>
                <a:cubicBezTo>
                  <a:pt x="952561" y="159680"/>
                  <a:pt x="974501" y="190516"/>
                  <a:pt x="989326" y="208899"/>
                </a:cubicBezTo>
                <a:cubicBezTo>
                  <a:pt x="1004151" y="227282"/>
                  <a:pt x="1034987" y="242106"/>
                  <a:pt x="1039138" y="255152"/>
                </a:cubicBezTo>
                <a:cubicBezTo>
                  <a:pt x="1043289" y="268198"/>
                  <a:pt x="1012453" y="276500"/>
                  <a:pt x="1014232" y="287174"/>
                </a:cubicBezTo>
                <a:cubicBezTo>
                  <a:pt x="1016011" y="297848"/>
                  <a:pt x="1024906" y="312080"/>
                  <a:pt x="1049812" y="319196"/>
                </a:cubicBezTo>
                <a:cubicBezTo>
                  <a:pt x="1074718" y="326312"/>
                  <a:pt x="1138761" y="321568"/>
                  <a:pt x="1163667" y="329870"/>
                </a:cubicBezTo>
                <a:cubicBezTo>
                  <a:pt x="1188573" y="338172"/>
                  <a:pt x="1177899" y="370787"/>
                  <a:pt x="1199247" y="369008"/>
                </a:cubicBezTo>
                <a:cubicBezTo>
                  <a:pt x="1220595" y="367229"/>
                  <a:pt x="1263883" y="328684"/>
                  <a:pt x="1291754" y="319196"/>
                </a:cubicBezTo>
                <a:cubicBezTo>
                  <a:pt x="1319625" y="309708"/>
                  <a:pt x="1332078" y="309708"/>
                  <a:pt x="1366472" y="312080"/>
                </a:cubicBezTo>
                <a:cubicBezTo>
                  <a:pt x="1400866" y="314452"/>
                  <a:pt x="1465502" y="336986"/>
                  <a:pt x="1498117" y="333428"/>
                </a:cubicBezTo>
                <a:cubicBezTo>
                  <a:pt x="1530732" y="329870"/>
                  <a:pt x="1552080" y="306150"/>
                  <a:pt x="1562161" y="290732"/>
                </a:cubicBezTo>
                <a:cubicBezTo>
                  <a:pt x="1572242" y="275314"/>
                  <a:pt x="1558010" y="257524"/>
                  <a:pt x="1558603" y="240920"/>
                </a:cubicBezTo>
                <a:cubicBezTo>
                  <a:pt x="1559196" y="224316"/>
                  <a:pt x="1559789" y="202376"/>
                  <a:pt x="1565719" y="191109"/>
                </a:cubicBezTo>
                <a:cubicBezTo>
                  <a:pt x="1571649" y="179842"/>
                  <a:pt x="1571648" y="176284"/>
                  <a:pt x="1594182" y="173319"/>
                </a:cubicBezTo>
                <a:cubicBezTo>
                  <a:pt x="1616716" y="170354"/>
                  <a:pt x="1679574" y="180435"/>
                  <a:pt x="1700922" y="173319"/>
                </a:cubicBezTo>
                <a:cubicBezTo>
                  <a:pt x="1722270" y="166203"/>
                  <a:pt x="1704480" y="135960"/>
                  <a:pt x="1722270" y="130623"/>
                </a:cubicBezTo>
                <a:cubicBezTo>
                  <a:pt x="1740060" y="125286"/>
                  <a:pt x="1794615" y="129437"/>
                  <a:pt x="1807661" y="141297"/>
                </a:cubicBezTo>
                <a:cubicBezTo>
                  <a:pt x="1820707" y="153157"/>
                  <a:pt x="1799952" y="185179"/>
                  <a:pt x="1800545" y="201783"/>
                </a:cubicBezTo>
                <a:cubicBezTo>
                  <a:pt x="1801138" y="218387"/>
                  <a:pt x="1807661" y="214235"/>
                  <a:pt x="1811219" y="240920"/>
                </a:cubicBezTo>
                <a:cubicBezTo>
                  <a:pt x="1814777" y="267605"/>
                  <a:pt x="1828416" y="334021"/>
                  <a:pt x="1821893" y="361892"/>
                </a:cubicBezTo>
                <a:cubicBezTo>
                  <a:pt x="1815370" y="389763"/>
                  <a:pt x="1775046" y="387390"/>
                  <a:pt x="1772081" y="408145"/>
                </a:cubicBezTo>
                <a:cubicBezTo>
                  <a:pt x="1769116" y="428900"/>
                  <a:pt x="1790464" y="472189"/>
                  <a:pt x="1804103" y="486421"/>
                </a:cubicBezTo>
                <a:cubicBezTo>
                  <a:pt x="1817742" y="500653"/>
                  <a:pt x="1845020" y="478119"/>
                  <a:pt x="1853915" y="493537"/>
                </a:cubicBezTo>
                <a:cubicBezTo>
                  <a:pt x="1862810" y="508955"/>
                  <a:pt x="1857473" y="578928"/>
                  <a:pt x="1857473" y="578928"/>
                </a:cubicBezTo>
                <a:lnTo>
                  <a:pt x="1857473" y="578928"/>
                </a:lnTo>
                <a:cubicBezTo>
                  <a:pt x="1852729" y="579521"/>
                  <a:pt x="1827230" y="548685"/>
                  <a:pt x="1829009" y="582486"/>
                </a:cubicBezTo>
                <a:cubicBezTo>
                  <a:pt x="1830788" y="616287"/>
                  <a:pt x="1882379" y="746153"/>
                  <a:pt x="1868147" y="781733"/>
                </a:cubicBezTo>
                <a:cubicBezTo>
                  <a:pt x="1853915" y="817313"/>
                  <a:pt x="1769116" y="785291"/>
                  <a:pt x="1743617" y="795965"/>
                </a:cubicBezTo>
                <a:cubicBezTo>
                  <a:pt x="1718118" y="806639"/>
                  <a:pt x="1699143" y="828579"/>
                  <a:pt x="1715154" y="845776"/>
                </a:cubicBezTo>
                <a:cubicBezTo>
                  <a:pt x="1731165" y="862973"/>
                  <a:pt x="1827230" y="880763"/>
                  <a:pt x="1839683" y="899146"/>
                </a:cubicBezTo>
                <a:cubicBezTo>
                  <a:pt x="1852136" y="917529"/>
                  <a:pt x="1804103" y="938284"/>
                  <a:pt x="1789871" y="956074"/>
                </a:cubicBezTo>
                <a:cubicBezTo>
                  <a:pt x="1775639" y="973864"/>
                  <a:pt x="1767337" y="997583"/>
                  <a:pt x="1754291" y="1005885"/>
                </a:cubicBezTo>
                <a:cubicBezTo>
                  <a:pt x="1741245" y="1014187"/>
                  <a:pt x="1719305" y="997583"/>
                  <a:pt x="1711596" y="1005885"/>
                </a:cubicBezTo>
                <a:cubicBezTo>
                  <a:pt x="1703887" y="1014187"/>
                  <a:pt x="1731165" y="1049767"/>
                  <a:pt x="1708038" y="1055697"/>
                </a:cubicBezTo>
                <a:cubicBezTo>
                  <a:pt x="1684911" y="1061627"/>
                  <a:pt x="1606635" y="1040872"/>
                  <a:pt x="1572834" y="1041465"/>
                </a:cubicBezTo>
                <a:cubicBezTo>
                  <a:pt x="1539033" y="1042058"/>
                  <a:pt x="1533104" y="1057476"/>
                  <a:pt x="1505233" y="1059255"/>
                </a:cubicBezTo>
                <a:cubicBezTo>
                  <a:pt x="1477362" y="1061034"/>
                  <a:pt x="1428737" y="1046209"/>
                  <a:pt x="1405610" y="1052139"/>
                </a:cubicBezTo>
                <a:cubicBezTo>
                  <a:pt x="1382483" y="1058069"/>
                  <a:pt x="1384262" y="1089498"/>
                  <a:pt x="1366472" y="1094835"/>
                </a:cubicBezTo>
                <a:cubicBezTo>
                  <a:pt x="1348682" y="1100172"/>
                  <a:pt x="1314288" y="1077638"/>
                  <a:pt x="1298870" y="1084161"/>
                </a:cubicBezTo>
                <a:cubicBezTo>
                  <a:pt x="1283452" y="1090684"/>
                  <a:pt x="1287603" y="1127449"/>
                  <a:pt x="1273964" y="1133972"/>
                </a:cubicBezTo>
                <a:cubicBezTo>
                  <a:pt x="1260325" y="1140495"/>
                  <a:pt x="1245501" y="1118555"/>
                  <a:pt x="1217037" y="1123299"/>
                </a:cubicBezTo>
                <a:cubicBezTo>
                  <a:pt x="1188573" y="1128043"/>
                  <a:pt x="1125716" y="1160657"/>
                  <a:pt x="1103182" y="1162436"/>
                </a:cubicBezTo>
                <a:cubicBezTo>
                  <a:pt x="1080648" y="1164215"/>
                  <a:pt x="1088357" y="1121519"/>
                  <a:pt x="1081834" y="1133972"/>
                </a:cubicBezTo>
                <a:cubicBezTo>
                  <a:pt x="1075311" y="1146425"/>
                  <a:pt x="1101403" y="1221143"/>
                  <a:pt x="1064044" y="1237154"/>
                </a:cubicBezTo>
                <a:cubicBezTo>
                  <a:pt x="1026685" y="1253165"/>
                  <a:pt x="897412" y="1238933"/>
                  <a:pt x="857681" y="1230038"/>
                </a:cubicBezTo>
                <a:cubicBezTo>
                  <a:pt x="817950" y="1221143"/>
                  <a:pt x="844635" y="1179633"/>
                  <a:pt x="825659" y="1183784"/>
                </a:cubicBezTo>
                <a:cubicBezTo>
                  <a:pt x="806683" y="1187935"/>
                  <a:pt x="775848" y="1246049"/>
                  <a:pt x="743826" y="1254944"/>
                </a:cubicBezTo>
                <a:cubicBezTo>
                  <a:pt x="711804" y="1263839"/>
                  <a:pt x="653098" y="1294675"/>
                  <a:pt x="629971" y="1262060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33" name="TextBox 32"/>
          <p:cNvSpPr txBox="1"/>
          <p:nvPr/>
        </p:nvSpPr>
        <p:spPr>
          <a:xfrm>
            <a:off x="6048297" y="3804324"/>
            <a:ext cx="942135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Миколаїв</a:t>
            </a:r>
            <a:endParaRPr lang="uk-UA" sz="1236" b="1" dirty="0"/>
          </a:p>
        </p:txBody>
      </p:sp>
      <p:sp>
        <p:nvSpPr>
          <p:cNvPr id="34" name="Полілінія 33"/>
          <p:cNvSpPr/>
          <p:nvPr/>
        </p:nvSpPr>
        <p:spPr>
          <a:xfrm>
            <a:off x="6230930" y="3675876"/>
            <a:ext cx="1808199" cy="925460"/>
          </a:xfrm>
          <a:custGeom>
            <a:avLst/>
            <a:gdLst>
              <a:gd name="connsiteX0" fmla="*/ 252499 w 2341171"/>
              <a:gd name="connsiteY0" fmla="*/ 707618 h 1198242"/>
              <a:gd name="connsiteX1" fmla="*/ 344574 w 2341171"/>
              <a:gd name="connsiteY1" fmla="*/ 755243 h 1198242"/>
              <a:gd name="connsiteX2" fmla="*/ 373149 w 2341171"/>
              <a:gd name="connsiteY2" fmla="*/ 783818 h 1198242"/>
              <a:gd name="connsiteX3" fmla="*/ 446174 w 2341171"/>
              <a:gd name="connsiteY3" fmla="*/ 799693 h 1198242"/>
              <a:gd name="connsiteX4" fmla="*/ 528724 w 2341171"/>
              <a:gd name="connsiteY4" fmla="*/ 806043 h 1198242"/>
              <a:gd name="connsiteX5" fmla="*/ 566824 w 2341171"/>
              <a:gd name="connsiteY5" fmla="*/ 828268 h 1198242"/>
              <a:gd name="connsiteX6" fmla="*/ 484274 w 2341171"/>
              <a:gd name="connsiteY6" fmla="*/ 866368 h 1198242"/>
              <a:gd name="connsiteX7" fmla="*/ 322349 w 2341171"/>
              <a:gd name="connsiteY7" fmla="*/ 853668 h 1198242"/>
              <a:gd name="connsiteX8" fmla="*/ 150899 w 2341171"/>
              <a:gd name="connsiteY8" fmla="*/ 818743 h 1198242"/>
              <a:gd name="connsiteX9" fmla="*/ 1674 w 2341171"/>
              <a:gd name="connsiteY9" fmla="*/ 821918 h 1198242"/>
              <a:gd name="connsiteX10" fmla="*/ 74699 w 2341171"/>
              <a:gd name="connsiteY10" fmla="*/ 910818 h 1198242"/>
              <a:gd name="connsiteX11" fmla="*/ 138199 w 2341171"/>
              <a:gd name="connsiteY11" fmla="*/ 860018 h 1198242"/>
              <a:gd name="connsiteX12" fmla="*/ 185824 w 2341171"/>
              <a:gd name="connsiteY12" fmla="*/ 879068 h 1198242"/>
              <a:gd name="connsiteX13" fmla="*/ 296949 w 2341171"/>
              <a:gd name="connsiteY13" fmla="*/ 901293 h 1198242"/>
              <a:gd name="connsiteX14" fmla="*/ 277899 w 2341171"/>
              <a:gd name="connsiteY14" fmla="*/ 952093 h 1198242"/>
              <a:gd name="connsiteX15" fmla="*/ 169949 w 2341171"/>
              <a:gd name="connsiteY15" fmla="*/ 1028293 h 1198242"/>
              <a:gd name="connsiteX16" fmla="*/ 163599 w 2341171"/>
              <a:gd name="connsiteY16" fmla="*/ 996543 h 1198242"/>
              <a:gd name="connsiteX17" fmla="*/ 233449 w 2341171"/>
              <a:gd name="connsiteY17" fmla="*/ 1021943 h 1198242"/>
              <a:gd name="connsiteX18" fmla="*/ 576349 w 2341171"/>
              <a:gd name="connsiteY18" fmla="*/ 1187043 h 1198242"/>
              <a:gd name="connsiteX19" fmla="*/ 703349 w 2341171"/>
              <a:gd name="connsiteY19" fmla="*/ 1177518 h 1198242"/>
              <a:gd name="connsiteX20" fmla="*/ 814474 w 2341171"/>
              <a:gd name="connsiteY20" fmla="*/ 1129893 h 1198242"/>
              <a:gd name="connsiteX21" fmla="*/ 935124 w 2341171"/>
              <a:gd name="connsiteY21" fmla="*/ 1142593 h 1198242"/>
              <a:gd name="connsiteX22" fmla="*/ 979574 w 2341171"/>
              <a:gd name="connsiteY22" fmla="*/ 1107668 h 1198242"/>
              <a:gd name="connsiteX23" fmla="*/ 1049424 w 2341171"/>
              <a:gd name="connsiteY23" fmla="*/ 1120368 h 1198242"/>
              <a:gd name="connsiteX24" fmla="*/ 1103399 w 2341171"/>
              <a:gd name="connsiteY24" fmla="*/ 1069568 h 1198242"/>
              <a:gd name="connsiteX25" fmla="*/ 1290724 w 2341171"/>
              <a:gd name="connsiteY25" fmla="*/ 1187043 h 1198242"/>
              <a:gd name="connsiteX26" fmla="*/ 1338349 w 2341171"/>
              <a:gd name="connsiteY26" fmla="*/ 1104493 h 1198242"/>
              <a:gd name="connsiteX27" fmla="*/ 1376449 w 2341171"/>
              <a:gd name="connsiteY27" fmla="*/ 1107668 h 1198242"/>
              <a:gd name="connsiteX28" fmla="*/ 1452649 w 2341171"/>
              <a:gd name="connsiteY28" fmla="*/ 1060043 h 1198242"/>
              <a:gd name="connsiteX29" fmla="*/ 1516149 w 2341171"/>
              <a:gd name="connsiteY29" fmla="*/ 1040993 h 1198242"/>
              <a:gd name="connsiteX30" fmla="*/ 1538374 w 2341171"/>
              <a:gd name="connsiteY30" fmla="*/ 1053693 h 1198242"/>
              <a:gd name="connsiteX31" fmla="*/ 1598699 w 2341171"/>
              <a:gd name="connsiteY31" fmla="*/ 1047343 h 1198242"/>
              <a:gd name="connsiteX32" fmla="*/ 1671724 w 2341171"/>
              <a:gd name="connsiteY32" fmla="*/ 1101318 h 1198242"/>
              <a:gd name="connsiteX33" fmla="*/ 1706649 w 2341171"/>
              <a:gd name="connsiteY33" fmla="*/ 1091793 h 1198242"/>
              <a:gd name="connsiteX34" fmla="*/ 1751099 w 2341171"/>
              <a:gd name="connsiteY34" fmla="*/ 1018768 h 1198242"/>
              <a:gd name="connsiteX35" fmla="*/ 1789199 w 2341171"/>
              <a:gd name="connsiteY35" fmla="*/ 1018768 h 1198242"/>
              <a:gd name="connsiteX36" fmla="*/ 1852699 w 2341171"/>
              <a:gd name="connsiteY36" fmla="*/ 1063218 h 1198242"/>
              <a:gd name="connsiteX37" fmla="*/ 1868574 w 2341171"/>
              <a:gd name="connsiteY37" fmla="*/ 1040993 h 1198242"/>
              <a:gd name="connsiteX38" fmla="*/ 1989224 w 2341171"/>
              <a:gd name="connsiteY38" fmla="*/ 1079093 h 1198242"/>
              <a:gd name="connsiteX39" fmla="*/ 2071774 w 2341171"/>
              <a:gd name="connsiteY39" fmla="*/ 1063218 h 1198242"/>
              <a:gd name="connsiteX40" fmla="*/ 2154324 w 2341171"/>
              <a:gd name="connsiteY40" fmla="*/ 1063218 h 1198242"/>
              <a:gd name="connsiteX41" fmla="*/ 2243224 w 2341171"/>
              <a:gd name="connsiteY41" fmla="*/ 1012418 h 1198242"/>
              <a:gd name="connsiteX42" fmla="*/ 2338474 w 2341171"/>
              <a:gd name="connsiteY42" fmla="*/ 987018 h 1198242"/>
              <a:gd name="connsiteX43" fmla="*/ 2309899 w 2341171"/>
              <a:gd name="connsiteY43" fmla="*/ 821918 h 1198242"/>
              <a:gd name="connsiteX44" fmla="*/ 2255924 w 2341171"/>
              <a:gd name="connsiteY44" fmla="*/ 799693 h 1198242"/>
              <a:gd name="connsiteX45" fmla="*/ 2160674 w 2341171"/>
              <a:gd name="connsiteY45" fmla="*/ 786993 h 1198242"/>
              <a:gd name="connsiteX46" fmla="*/ 2138449 w 2341171"/>
              <a:gd name="connsiteY46" fmla="*/ 742543 h 1198242"/>
              <a:gd name="connsiteX47" fmla="*/ 2084474 w 2341171"/>
              <a:gd name="connsiteY47" fmla="*/ 739368 h 1198242"/>
              <a:gd name="connsiteX48" fmla="*/ 2087649 w 2341171"/>
              <a:gd name="connsiteY48" fmla="*/ 701268 h 1198242"/>
              <a:gd name="connsiteX49" fmla="*/ 2103524 w 2341171"/>
              <a:gd name="connsiteY49" fmla="*/ 698093 h 1198242"/>
              <a:gd name="connsiteX50" fmla="*/ 2040024 w 2341171"/>
              <a:gd name="connsiteY50" fmla="*/ 669518 h 1198242"/>
              <a:gd name="connsiteX51" fmla="*/ 2024149 w 2341171"/>
              <a:gd name="connsiteY51" fmla="*/ 647293 h 1198242"/>
              <a:gd name="connsiteX52" fmla="*/ 2116224 w 2341171"/>
              <a:gd name="connsiteY52" fmla="*/ 552043 h 1198242"/>
              <a:gd name="connsiteX53" fmla="*/ 2087649 w 2341171"/>
              <a:gd name="connsiteY53" fmla="*/ 488543 h 1198242"/>
              <a:gd name="connsiteX54" fmla="*/ 2052724 w 2341171"/>
              <a:gd name="connsiteY54" fmla="*/ 466318 h 1198242"/>
              <a:gd name="connsiteX55" fmla="*/ 1982874 w 2341171"/>
              <a:gd name="connsiteY55" fmla="*/ 479018 h 1198242"/>
              <a:gd name="connsiteX56" fmla="*/ 1906674 w 2341171"/>
              <a:gd name="connsiteY56" fmla="*/ 348843 h 1198242"/>
              <a:gd name="connsiteX57" fmla="*/ 1859049 w 2341171"/>
              <a:gd name="connsiteY57" fmla="*/ 190093 h 1198242"/>
              <a:gd name="connsiteX58" fmla="*/ 1795549 w 2341171"/>
              <a:gd name="connsiteY58" fmla="*/ 209143 h 1198242"/>
              <a:gd name="connsiteX59" fmla="*/ 1747924 w 2341171"/>
              <a:gd name="connsiteY59" fmla="*/ 209143 h 1198242"/>
              <a:gd name="connsiteX60" fmla="*/ 1681249 w 2341171"/>
              <a:gd name="connsiteY60" fmla="*/ 186918 h 1198242"/>
              <a:gd name="connsiteX61" fmla="*/ 1582824 w 2341171"/>
              <a:gd name="connsiteY61" fmla="*/ 221843 h 1198242"/>
              <a:gd name="connsiteX62" fmla="*/ 1554249 w 2341171"/>
              <a:gd name="connsiteY62" fmla="*/ 288518 h 1198242"/>
              <a:gd name="connsiteX63" fmla="*/ 1500274 w 2341171"/>
              <a:gd name="connsiteY63" fmla="*/ 348843 h 1198242"/>
              <a:gd name="connsiteX64" fmla="*/ 1465349 w 2341171"/>
              <a:gd name="connsiteY64" fmla="*/ 364718 h 1198242"/>
              <a:gd name="connsiteX65" fmla="*/ 1465349 w 2341171"/>
              <a:gd name="connsiteY65" fmla="*/ 425043 h 1198242"/>
              <a:gd name="connsiteX66" fmla="*/ 1401849 w 2341171"/>
              <a:gd name="connsiteY66" fmla="*/ 456793 h 1198242"/>
              <a:gd name="connsiteX67" fmla="*/ 1420899 w 2341171"/>
              <a:gd name="connsiteY67" fmla="*/ 545693 h 1198242"/>
              <a:gd name="connsiteX68" fmla="*/ 1217699 w 2341171"/>
              <a:gd name="connsiteY68" fmla="*/ 602843 h 1198242"/>
              <a:gd name="connsiteX69" fmla="*/ 1173249 w 2341171"/>
              <a:gd name="connsiteY69" fmla="*/ 628243 h 1198242"/>
              <a:gd name="connsiteX70" fmla="*/ 1122449 w 2341171"/>
              <a:gd name="connsiteY70" fmla="*/ 631418 h 1198242"/>
              <a:gd name="connsiteX71" fmla="*/ 1189124 w 2341171"/>
              <a:gd name="connsiteY71" fmla="*/ 561568 h 1198242"/>
              <a:gd name="connsiteX72" fmla="*/ 1246274 w 2341171"/>
              <a:gd name="connsiteY72" fmla="*/ 561568 h 1198242"/>
              <a:gd name="connsiteX73" fmla="*/ 1300249 w 2341171"/>
              <a:gd name="connsiteY73" fmla="*/ 539343 h 1198242"/>
              <a:gd name="connsiteX74" fmla="*/ 1319299 w 2341171"/>
              <a:gd name="connsiteY74" fmla="*/ 459968 h 1198242"/>
              <a:gd name="connsiteX75" fmla="*/ 1354224 w 2341171"/>
              <a:gd name="connsiteY75" fmla="*/ 396468 h 1198242"/>
              <a:gd name="connsiteX76" fmla="*/ 1405024 w 2341171"/>
              <a:gd name="connsiteY76" fmla="*/ 383768 h 1198242"/>
              <a:gd name="connsiteX77" fmla="*/ 1439949 w 2341171"/>
              <a:gd name="connsiteY77" fmla="*/ 348843 h 1198242"/>
              <a:gd name="connsiteX78" fmla="*/ 1439949 w 2341171"/>
              <a:gd name="connsiteY78" fmla="*/ 317093 h 1198242"/>
              <a:gd name="connsiteX79" fmla="*/ 1484399 w 2341171"/>
              <a:gd name="connsiteY79" fmla="*/ 307568 h 1198242"/>
              <a:gd name="connsiteX80" fmla="*/ 1478049 w 2341171"/>
              <a:gd name="connsiteY80" fmla="*/ 259943 h 1198242"/>
              <a:gd name="connsiteX81" fmla="*/ 1512974 w 2341171"/>
              <a:gd name="connsiteY81" fmla="*/ 231368 h 1198242"/>
              <a:gd name="connsiteX82" fmla="*/ 1512974 w 2341171"/>
              <a:gd name="connsiteY82" fmla="*/ 231368 h 1198242"/>
              <a:gd name="connsiteX83" fmla="*/ 1509799 w 2341171"/>
              <a:gd name="connsiteY83" fmla="*/ 129768 h 1198242"/>
              <a:gd name="connsiteX84" fmla="*/ 1490749 w 2341171"/>
              <a:gd name="connsiteY84" fmla="*/ 69443 h 1198242"/>
              <a:gd name="connsiteX85" fmla="*/ 1497099 w 2341171"/>
              <a:gd name="connsiteY85" fmla="*/ 34518 h 1198242"/>
              <a:gd name="connsiteX86" fmla="*/ 1303424 w 2341171"/>
              <a:gd name="connsiteY86" fmla="*/ 53568 h 1198242"/>
              <a:gd name="connsiteX87" fmla="*/ 1281199 w 2341171"/>
              <a:gd name="connsiteY87" fmla="*/ 12293 h 1198242"/>
              <a:gd name="connsiteX88" fmla="*/ 1236749 w 2341171"/>
              <a:gd name="connsiteY88" fmla="*/ 15468 h 1198242"/>
              <a:gd name="connsiteX89" fmla="*/ 1220874 w 2341171"/>
              <a:gd name="connsiteY89" fmla="*/ 44043 h 1198242"/>
              <a:gd name="connsiteX90" fmla="*/ 1182774 w 2341171"/>
              <a:gd name="connsiteY90" fmla="*/ 44043 h 1198242"/>
              <a:gd name="connsiteX91" fmla="*/ 1135149 w 2341171"/>
              <a:gd name="connsiteY91" fmla="*/ 63093 h 1198242"/>
              <a:gd name="connsiteX92" fmla="*/ 1116099 w 2341171"/>
              <a:gd name="connsiteY92" fmla="*/ 37693 h 1198242"/>
              <a:gd name="connsiteX93" fmla="*/ 1084349 w 2341171"/>
              <a:gd name="connsiteY93" fmla="*/ 31343 h 1198242"/>
              <a:gd name="connsiteX94" fmla="*/ 1033549 w 2341171"/>
              <a:gd name="connsiteY94" fmla="*/ 9118 h 1198242"/>
              <a:gd name="connsiteX95" fmla="*/ 995449 w 2341171"/>
              <a:gd name="connsiteY95" fmla="*/ 9118 h 1198242"/>
              <a:gd name="connsiteX96" fmla="*/ 1001799 w 2341171"/>
              <a:gd name="connsiteY96" fmla="*/ 120243 h 1198242"/>
              <a:gd name="connsiteX97" fmla="*/ 970049 w 2341171"/>
              <a:gd name="connsiteY97" fmla="*/ 110718 h 1198242"/>
              <a:gd name="connsiteX98" fmla="*/ 1011324 w 2341171"/>
              <a:gd name="connsiteY98" fmla="*/ 272643 h 1198242"/>
              <a:gd name="connsiteX99" fmla="*/ 1001799 w 2341171"/>
              <a:gd name="connsiteY99" fmla="*/ 310743 h 1198242"/>
              <a:gd name="connsiteX100" fmla="*/ 995449 w 2341171"/>
              <a:gd name="connsiteY100" fmla="*/ 342493 h 1198242"/>
              <a:gd name="connsiteX101" fmla="*/ 865274 w 2341171"/>
              <a:gd name="connsiteY101" fmla="*/ 323443 h 1198242"/>
              <a:gd name="connsiteX102" fmla="*/ 843049 w 2341171"/>
              <a:gd name="connsiteY102" fmla="*/ 332968 h 1198242"/>
              <a:gd name="connsiteX103" fmla="*/ 852574 w 2341171"/>
              <a:gd name="connsiteY103" fmla="*/ 374243 h 1198242"/>
              <a:gd name="connsiteX104" fmla="*/ 963699 w 2341171"/>
              <a:gd name="connsiteY104" fmla="*/ 409168 h 1198242"/>
              <a:gd name="connsiteX105" fmla="*/ 963699 w 2341171"/>
              <a:gd name="connsiteY105" fmla="*/ 466318 h 1198242"/>
              <a:gd name="connsiteX106" fmla="*/ 916074 w 2341171"/>
              <a:gd name="connsiteY106" fmla="*/ 479018 h 1198242"/>
              <a:gd name="connsiteX107" fmla="*/ 925599 w 2341171"/>
              <a:gd name="connsiteY107" fmla="*/ 510768 h 1198242"/>
              <a:gd name="connsiteX108" fmla="*/ 836699 w 2341171"/>
              <a:gd name="connsiteY108" fmla="*/ 539343 h 1198242"/>
              <a:gd name="connsiteX109" fmla="*/ 849399 w 2341171"/>
              <a:gd name="connsiteY109" fmla="*/ 567918 h 1198242"/>
              <a:gd name="connsiteX110" fmla="*/ 757324 w 2341171"/>
              <a:gd name="connsiteY110" fmla="*/ 586968 h 1198242"/>
              <a:gd name="connsiteX111" fmla="*/ 696999 w 2341171"/>
              <a:gd name="connsiteY111" fmla="*/ 577443 h 1198242"/>
              <a:gd name="connsiteX112" fmla="*/ 696999 w 2341171"/>
              <a:gd name="connsiteY112" fmla="*/ 571093 h 1198242"/>
              <a:gd name="connsiteX113" fmla="*/ 538249 w 2341171"/>
              <a:gd name="connsiteY113" fmla="*/ 593318 h 1198242"/>
              <a:gd name="connsiteX114" fmla="*/ 458874 w 2341171"/>
              <a:gd name="connsiteY114" fmla="*/ 625068 h 1198242"/>
              <a:gd name="connsiteX115" fmla="*/ 398549 w 2341171"/>
              <a:gd name="connsiteY115" fmla="*/ 650468 h 1198242"/>
              <a:gd name="connsiteX116" fmla="*/ 350924 w 2341171"/>
              <a:gd name="connsiteY116" fmla="*/ 656818 h 1198242"/>
              <a:gd name="connsiteX117" fmla="*/ 290599 w 2341171"/>
              <a:gd name="connsiteY117" fmla="*/ 669518 h 1198242"/>
              <a:gd name="connsiteX118" fmla="*/ 252499 w 2341171"/>
              <a:gd name="connsiteY118" fmla="*/ 707618 h 1198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2341171" h="1198242">
                <a:moveTo>
                  <a:pt x="252499" y="707618"/>
                </a:moveTo>
                <a:cubicBezTo>
                  <a:pt x="261495" y="721905"/>
                  <a:pt x="324466" y="742543"/>
                  <a:pt x="344574" y="755243"/>
                </a:cubicBezTo>
                <a:cubicBezTo>
                  <a:pt x="364682" y="767943"/>
                  <a:pt x="356216" y="776410"/>
                  <a:pt x="373149" y="783818"/>
                </a:cubicBezTo>
                <a:cubicBezTo>
                  <a:pt x="390082" y="791226"/>
                  <a:pt x="420245" y="795989"/>
                  <a:pt x="446174" y="799693"/>
                </a:cubicBezTo>
                <a:cubicBezTo>
                  <a:pt x="472103" y="803397"/>
                  <a:pt x="508616" y="801281"/>
                  <a:pt x="528724" y="806043"/>
                </a:cubicBezTo>
                <a:cubicBezTo>
                  <a:pt x="548832" y="810805"/>
                  <a:pt x="574232" y="818214"/>
                  <a:pt x="566824" y="828268"/>
                </a:cubicBezTo>
                <a:cubicBezTo>
                  <a:pt x="559416" y="838322"/>
                  <a:pt x="525020" y="862135"/>
                  <a:pt x="484274" y="866368"/>
                </a:cubicBezTo>
                <a:cubicBezTo>
                  <a:pt x="443528" y="870601"/>
                  <a:pt x="377911" y="861605"/>
                  <a:pt x="322349" y="853668"/>
                </a:cubicBezTo>
                <a:cubicBezTo>
                  <a:pt x="266787" y="845731"/>
                  <a:pt x="204345" y="824035"/>
                  <a:pt x="150899" y="818743"/>
                </a:cubicBezTo>
                <a:cubicBezTo>
                  <a:pt x="97453" y="813451"/>
                  <a:pt x="14374" y="806572"/>
                  <a:pt x="1674" y="821918"/>
                </a:cubicBezTo>
                <a:cubicBezTo>
                  <a:pt x="-11026" y="837264"/>
                  <a:pt x="51945" y="904468"/>
                  <a:pt x="74699" y="910818"/>
                </a:cubicBezTo>
                <a:cubicBezTo>
                  <a:pt x="97453" y="917168"/>
                  <a:pt x="119678" y="865310"/>
                  <a:pt x="138199" y="860018"/>
                </a:cubicBezTo>
                <a:cubicBezTo>
                  <a:pt x="156720" y="854726"/>
                  <a:pt x="159366" y="872189"/>
                  <a:pt x="185824" y="879068"/>
                </a:cubicBezTo>
                <a:cubicBezTo>
                  <a:pt x="212282" y="885947"/>
                  <a:pt x="281603" y="889122"/>
                  <a:pt x="296949" y="901293"/>
                </a:cubicBezTo>
                <a:cubicBezTo>
                  <a:pt x="312295" y="913464"/>
                  <a:pt x="299066" y="930926"/>
                  <a:pt x="277899" y="952093"/>
                </a:cubicBezTo>
                <a:cubicBezTo>
                  <a:pt x="256732" y="973260"/>
                  <a:pt x="188999" y="1020885"/>
                  <a:pt x="169949" y="1028293"/>
                </a:cubicBezTo>
                <a:cubicBezTo>
                  <a:pt x="150899" y="1035701"/>
                  <a:pt x="153016" y="997601"/>
                  <a:pt x="163599" y="996543"/>
                </a:cubicBezTo>
                <a:cubicBezTo>
                  <a:pt x="174182" y="995485"/>
                  <a:pt x="164657" y="990193"/>
                  <a:pt x="233449" y="1021943"/>
                </a:cubicBezTo>
                <a:cubicBezTo>
                  <a:pt x="302241" y="1053693"/>
                  <a:pt x="498032" y="1161114"/>
                  <a:pt x="576349" y="1187043"/>
                </a:cubicBezTo>
                <a:cubicBezTo>
                  <a:pt x="654666" y="1212972"/>
                  <a:pt x="663662" y="1187043"/>
                  <a:pt x="703349" y="1177518"/>
                </a:cubicBezTo>
                <a:cubicBezTo>
                  <a:pt x="743037" y="1167993"/>
                  <a:pt x="775845" y="1135714"/>
                  <a:pt x="814474" y="1129893"/>
                </a:cubicBezTo>
                <a:cubicBezTo>
                  <a:pt x="853103" y="1124072"/>
                  <a:pt x="907607" y="1146297"/>
                  <a:pt x="935124" y="1142593"/>
                </a:cubicBezTo>
                <a:cubicBezTo>
                  <a:pt x="962641" y="1138889"/>
                  <a:pt x="960524" y="1111372"/>
                  <a:pt x="979574" y="1107668"/>
                </a:cubicBezTo>
                <a:cubicBezTo>
                  <a:pt x="998624" y="1103964"/>
                  <a:pt x="1028787" y="1126718"/>
                  <a:pt x="1049424" y="1120368"/>
                </a:cubicBezTo>
                <a:cubicBezTo>
                  <a:pt x="1070061" y="1114018"/>
                  <a:pt x="1063182" y="1058456"/>
                  <a:pt x="1103399" y="1069568"/>
                </a:cubicBezTo>
                <a:cubicBezTo>
                  <a:pt x="1143616" y="1080681"/>
                  <a:pt x="1251566" y="1181222"/>
                  <a:pt x="1290724" y="1187043"/>
                </a:cubicBezTo>
                <a:cubicBezTo>
                  <a:pt x="1329882" y="1192864"/>
                  <a:pt x="1324062" y="1117722"/>
                  <a:pt x="1338349" y="1104493"/>
                </a:cubicBezTo>
                <a:cubicBezTo>
                  <a:pt x="1352637" y="1091264"/>
                  <a:pt x="1357399" y="1115076"/>
                  <a:pt x="1376449" y="1107668"/>
                </a:cubicBezTo>
                <a:cubicBezTo>
                  <a:pt x="1395499" y="1100260"/>
                  <a:pt x="1429366" y="1071155"/>
                  <a:pt x="1452649" y="1060043"/>
                </a:cubicBezTo>
                <a:cubicBezTo>
                  <a:pt x="1475932" y="1048931"/>
                  <a:pt x="1501862" y="1042051"/>
                  <a:pt x="1516149" y="1040993"/>
                </a:cubicBezTo>
                <a:cubicBezTo>
                  <a:pt x="1530436" y="1039935"/>
                  <a:pt x="1524616" y="1052635"/>
                  <a:pt x="1538374" y="1053693"/>
                </a:cubicBezTo>
                <a:cubicBezTo>
                  <a:pt x="1552132" y="1054751"/>
                  <a:pt x="1576474" y="1039406"/>
                  <a:pt x="1598699" y="1047343"/>
                </a:cubicBezTo>
                <a:cubicBezTo>
                  <a:pt x="1620924" y="1055281"/>
                  <a:pt x="1653732" y="1093910"/>
                  <a:pt x="1671724" y="1101318"/>
                </a:cubicBezTo>
                <a:cubicBezTo>
                  <a:pt x="1689716" y="1108726"/>
                  <a:pt x="1693420" y="1105551"/>
                  <a:pt x="1706649" y="1091793"/>
                </a:cubicBezTo>
                <a:cubicBezTo>
                  <a:pt x="1719878" y="1078035"/>
                  <a:pt x="1737341" y="1030939"/>
                  <a:pt x="1751099" y="1018768"/>
                </a:cubicBezTo>
                <a:cubicBezTo>
                  <a:pt x="1764857" y="1006597"/>
                  <a:pt x="1772266" y="1011360"/>
                  <a:pt x="1789199" y="1018768"/>
                </a:cubicBezTo>
                <a:cubicBezTo>
                  <a:pt x="1806132" y="1026176"/>
                  <a:pt x="1839470" y="1059514"/>
                  <a:pt x="1852699" y="1063218"/>
                </a:cubicBezTo>
                <a:cubicBezTo>
                  <a:pt x="1865928" y="1066922"/>
                  <a:pt x="1845820" y="1038347"/>
                  <a:pt x="1868574" y="1040993"/>
                </a:cubicBezTo>
                <a:cubicBezTo>
                  <a:pt x="1891328" y="1043639"/>
                  <a:pt x="1955357" y="1075389"/>
                  <a:pt x="1989224" y="1079093"/>
                </a:cubicBezTo>
                <a:cubicBezTo>
                  <a:pt x="2023091" y="1082797"/>
                  <a:pt x="2044257" y="1065864"/>
                  <a:pt x="2071774" y="1063218"/>
                </a:cubicBezTo>
                <a:cubicBezTo>
                  <a:pt x="2099291" y="1060572"/>
                  <a:pt x="2125749" y="1071685"/>
                  <a:pt x="2154324" y="1063218"/>
                </a:cubicBezTo>
                <a:cubicBezTo>
                  <a:pt x="2182899" y="1054751"/>
                  <a:pt x="2212532" y="1025118"/>
                  <a:pt x="2243224" y="1012418"/>
                </a:cubicBezTo>
                <a:cubicBezTo>
                  <a:pt x="2273916" y="999718"/>
                  <a:pt x="2327362" y="1018768"/>
                  <a:pt x="2338474" y="987018"/>
                </a:cubicBezTo>
                <a:cubicBezTo>
                  <a:pt x="2349586" y="955268"/>
                  <a:pt x="2323657" y="853139"/>
                  <a:pt x="2309899" y="821918"/>
                </a:cubicBezTo>
                <a:cubicBezTo>
                  <a:pt x="2296141" y="790697"/>
                  <a:pt x="2280795" y="805514"/>
                  <a:pt x="2255924" y="799693"/>
                </a:cubicBezTo>
                <a:cubicBezTo>
                  <a:pt x="2231053" y="793872"/>
                  <a:pt x="2180253" y="796518"/>
                  <a:pt x="2160674" y="786993"/>
                </a:cubicBezTo>
                <a:cubicBezTo>
                  <a:pt x="2141095" y="777468"/>
                  <a:pt x="2151149" y="750480"/>
                  <a:pt x="2138449" y="742543"/>
                </a:cubicBezTo>
                <a:cubicBezTo>
                  <a:pt x="2125749" y="734606"/>
                  <a:pt x="2092941" y="746247"/>
                  <a:pt x="2084474" y="739368"/>
                </a:cubicBezTo>
                <a:cubicBezTo>
                  <a:pt x="2076007" y="732489"/>
                  <a:pt x="2084474" y="708147"/>
                  <a:pt x="2087649" y="701268"/>
                </a:cubicBezTo>
                <a:cubicBezTo>
                  <a:pt x="2090824" y="694389"/>
                  <a:pt x="2111461" y="703385"/>
                  <a:pt x="2103524" y="698093"/>
                </a:cubicBezTo>
                <a:cubicBezTo>
                  <a:pt x="2095587" y="692801"/>
                  <a:pt x="2053253" y="677985"/>
                  <a:pt x="2040024" y="669518"/>
                </a:cubicBezTo>
                <a:cubicBezTo>
                  <a:pt x="2026795" y="661051"/>
                  <a:pt x="2011449" y="666872"/>
                  <a:pt x="2024149" y="647293"/>
                </a:cubicBezTo>
                <a:cubicBezTo>
                  <a:pt x="2036849" y="627714"/>
                  <a:pt x="2105641" y="578501"/>
                  <a:pt x="2116224" y="552043"/>
                </a:cubicBezTo>
                <a:cubicBezTo>
                  <a:pt x="2126807" y="525585"/>
                  <a:pt x="2098232" y="502830"/>
                  <a:pt x="2087649" y="488543"/>
                </a:cubicBezTo>
                <a:cubicBezTo>
                  <a:pt x="2077066" y="474255"/>
                  <a:pt x="2070186" y="467905"/>
                  <a:pt x="2052724" y="466318"/>
                </a:cubicBezTo>
                <a:cubicBezTo>
                  <a:pt x="2035262" y="464731"/>
                  <a:pt x="2007216" y="498597"/>
                  <a:pt x="1982874" y="479018"/>
                </a:cubicBezTo>
                <a:cubicBezTo>
                  <a:pt x="1958532" y="459439"/>
                  <a:pt x="1927312" y="396997"/>
                  <a:pt x="1906674" y="348843"/>
                </a:cubicBezTo>
                <a:cubicBezTo>
                  <a:pt x="1886037" y="300689"/>
                  <a:pt x="1877570" y="213376"/>
                  <a:pt x="1859049" y="190093"/>
                </a:cubicBezTo>
                <a:cubicBezTo>
                  <a:pt x="1840528" y="166810"/>
                  <a:pt x="1814070" y="205968"/>
                  <a:pt x="1795549" y="209143"/>
                </a:cubicBezTo>
                <a:cubicBezTo>
                  <a:pt x="1777028" y="212318"/>
                  <a:pt x="1766974" y="212847"/>
                  <a:pt x="1747924" y="209143"/>
                </a:cubicBezTo>
                <a:cubicBezTo>
                  <a:pt x="1728874" y="205439"/>
                  <a:pt x="1708766" y="184801"/>
                  <a:pt x="1681249" y="186918"/>
                </a:cubicBezTo>
                <a:cubicBezTo>
                  <a:pt x="1653732" y="189035"/>
                  <a:pt x="1603991" y="204910"/>
                  <a:pt x="1582824" y="221843"/>
                </a:cubicBezTo>
                <a:cubicBezTo>
                  <a:pt x="1561657" y="238776"/>
                  <a:pt x="1568007" y="267351"/>
                  <a:pt x="1554249" y="288518"/>
                </a:cubicBezTo>
                <a:cubicBezTo>
                  <a:pt x="1540491" y="309685"/>
                  <a:pt x="1515091" y="336143"/>
                  <a:pt x="1500274" y="348843"/>
                </a:cubicBezTo>
                <a:cubicBezTo>
                  <a:pt x="1485457" y="361543"/>
                  <a:pt x="1471170" y="352018"/>
                  <a:pt x="1465349" y="364718"/>
                </a:cubicBezTo>
                <a:cubicBezTo>
                  <a:pt x="1459528" y="377418"/>
                  <a:pt x="1475932" y="409697"/>
                  <a:pt x="1465349" y="425043"/>
                </a:cubicBezTo>
                <a:cubicBezTo>
                  <a:pt x="1454766" y="440389"/>
                  <a:pt x="1409257" y="436685"/>
                  <a:pt x="1401849" y="456793"/>
                </a:cubicBezTo>
                <a:cubicBezTo>
                  <a:pt x="1394441" y="476901"/>
                  <a:pt x="1451591" y="521351"/>
                  <a:pt x="1420899" y="545693"/>
                </a:cubicBezTo>
                <a:cubicBezTo>
                  <a:pt x="1390207" y="570035"/>
                  <a:pt x="1258974" y="589085"/>
                  <a:pt x="1217699" y="602843"/>
                </a:cubicBezTo>
                <a:cubicBezTo>
                  <a:pt x="1176424" y="616601"/>
                  <a:pt x="1189124" y="623481"/>
                  <a:pt x="1173249" y="628243"/>
                </a:cubicBezTo>
                <a:cubicBezTo>
                  <a:pt x="1157374" y="633005"/>
                  <a:pt x="1119803" y="642531"/>
                  <a:pt x="1122449" y="631418"/>
                </a:cubicBezTo>
                <a:cubicBezTo>
                  <a:pt x="1125095" y="620305"/>
                  <a:pt x="1168487" y="573210"/>
                  <a:pt x="1189124" y="561568"/>
                </a:cubicBezTo>
                <a:cubicBezTo>
                  <a:pt x="1209761" y="549926"/>
                  <a:pt x="1227753" y="565272"/>
                  <a:pt x="1246274" y="561568"/>
                </a:cubicBezTo>
                <a:cubicBezTo>
                  <a:pt x="1264795" y="557864"/>
                  <a:pt x="1288078" y="556276"/>
                  <a:pt x="1300249" y="539343"/>
                </a:cubicBezTo>
                <a:cubicBezTo>
                  <a:pt x="1312420" y="522410"/>
                  <a:pt x="1310303" y="483780"/>
                  <a:pt x="1319299" y="459968"/>
                </a:cubicBezTo>
                <a:cubicBezTo>
                  <a:pt x="1328295" y="436156"/>
                  <a:pt x="1339937" y="409168"/>
                  <a:pt x="1354224" y="396468"/>
                </a:cubicBezTo>
                <a:cubicBezTo>
                  <a:pt x="1368512" y="383768"/>
                  <a:pt x="1390737" y="391705"/>
                  <a:pt x="1405024" y="383768"/>
                </a:cubicBezTo>
                <a:cubicBezTo>
                  <a:pt x="1419311" y="375831"/>
                  <a:pt x="1434128" y="359955"/>
                  <a:pt x="1439949" y="348843"/>
                </a:cubicBezTo>
                <a:cubicBezTo>
                  <a:pt x="1445770" y="337731"/>
                  <a:pt x="1432541" y="323972"/>
                  <a:pt x="1439949" y="317093"/>
                </a:cubicBezTo>
                <a:cubicBezTo>
                  <a:pt x="1447357" y="310214"/>
                  <a:pt x="1478049" y="317093"/>
                  <a:pt x="1484399" y="307568"/>
                </a:cubicBezTo>
                <a:cubicBezTo>
                  <a:pt x="1490749" y="298043"/>
                  <a:pt x="1473286" y="272643"/>
                  <a:pt x="1478049" y="259943"/>
                </a:cubicBezTo>
                <a:cubicBezTo>
                  <a:pt x="1482812" y="247243"/>
                  <a:pt x="1512974" y="231368"/>
                  <a:pt x="1512974" y="231368"/>
                </a:cubicBezTo>
                <a:lnTo>
                  <a:pt x="1512974" y="231368"/>
                </a:lnTo>
                <a:cubicBezTo>
                  <a:pt x="1512445" y="214435"/>
                  <a:pt x="1513503" y="156755"/>
                  <a:pt x="1509799" y="129768"/>
                </a:cubicBezTo>
                <a:cubicBezTo>
                  <a:pt x="1506095" y="102781"/>
                  <a:pt x="1492866" y="85318"/>
                  <a:pt x="1490749" y="69443"/>
                </a:cubicBezTo>
                <a:cubicBezTo>
                  <a:pt x="1488632" y="53568"/>
                  <a:pt x="1528320" y="37164"/>
                  <a:pt x="1497099" y="34518"/>
                </a:cubicBezTo>
                <a:cubicBezTo>
                  <a:pt x="1465878" y="31872"/>
                  <a:pt x="1339407" y="57272"/>
                  <a:pt x="1303424" y="53568"/>
                </a:cubicBezTo>
                <a:cubicBezTo>
                  <a:pt x="1267441" y="49864"/>
                  <a:pt x="1292311" y="18643"/>
                  <a:pt x="1281199" y="12293"/>
                </a:cubicBezTo>
                <a:cubicBezTo>
                  <a:pt x="1270087" y="5943"/>
                  <a:pt x="1246803" y="10176"/>
                  <a:pt x="1236749" y="15468"/>
                </a:cubicBezTo>
                <a:cubicBezTo>
                  <a:pt x="1226695" y="20760"/>
                  <a:pt x="1229870" y="39281"/>
                  <a:pt x="1220874" y="44043"/>
                </a:cubicBezTo>
                <a:cubicBezTo>
                  <a:pt x="1211878" y="48805"/>
                  <a:pt x="1197061" y="40868"/>
                  <a:pt x="1182774" y="44043"/>
                </a:cubicBezTo>
                <a:cubicBezTo>
                  <a:pt x="1168487" y="47218"/>
                  <a:pt x="1146261" y="64151"/>
                  <a:pt x="1135149" y="63093"/>
                </a:cubicBezTo>
                <a:cubicBezTo>
                  <a:pt x="1124037" y="62035"/>
                  <a:pt x="1124566" y="42985"/>
                  <a:pt x="1116099" y="37693"/>
                </a:cubicBezTo>
                <a:cubicBezTo>
                  <a:pt x="1107632" y="32401"/>
                  <a:pt x="1098107" y="36105"/>
                  <a:pt x="1084349" y="31343"/>
                </a:cubicBezTo>
                <a:cubicBezTo>
                  <a:pt x="1070591" y="26581"/>
                  <a:pt x="1048366" y="12822"/>
                  <a:pt x="1033549" y="9118"/>
                </a:cubicBezTo>
                <a:cubicBezTo>
                  <a:pt x="1018732" y="5414"/>
                  <a:pt x="1000741" y="-9403"/>
                  <a:pt x="995449" y="9118"/>
                </a:cubicBezTo>
                <a:cubicBezTo>
                  <a:pt x="990157" y="27639"/>
                  <a:pt x="1006032" y="103310"/>
                  <a:pt x="1001799" y="120243"/>
                </a:cubicBezTo>
                <a:cubicBezTo>
                  <a:pt x="997566" y="137176"/>
                  <a:pt x="968462" y="85318"/>
                  <a:pt x="970049" y="110718"/>
                </a:cubicBezTo>
                <a:cubicBezTo>
                  <a:pt x="971637" y="136118"/>
                  <a:pt x="1006032" y="239306"/>
                  <a:pt x="1011324" y="272643"/>
                </a:cubicBezTo>
                <a:cubicBezTo>
                  <a:pt x="1016616" y="305980"/>
                  <a:pt x="1004445" y="299101"/>
                  <a:pt x="1001799" y="310743"/>
                </a:cubicBezTo>
                <a:cubicBezTo>
                  <a:pt x="999153" y="322385"/>
                  <a:pt x="1018203" y="340376"/>
                  <a:pt x="995449" y="342493"/>
                </a:cubicBezTo>
                <a:cubicBezTo>
                  <a:pt x="972695" y="344610"/>
                  <a:pt x="890674" y="325030"/>
                  <a:pt x="865274" y="323443"/>
                </a:cubicBezTo>
                <a:cubicBezTo>
                  <a:pt x="839874" y="321855"/>
                  <a:pt x="845166" y="324501"/>
                  <a:pt x="843049" y="332968"/>
                </a:cubicBezTo>
                <a:cubicBezTo>
                  <a:pt x="840932" y="341435"/>
                  <a:pt x="832466" y="361543"/>
                  <a:pt x="852574" y="374243"/>
                </a:cubicBezTo>
                <a:cubicBezTo>
                  <a:pt x="872682" y="386943"/>
                  <a:pt x="945178" y="393822"/>
                  <a:pt x="963699" y="409168"/>
                </a:cubicBezTo>
                <a:cubicBezTo>
                  <a:pt x="982220" y="424514"/>
                  <a:pt x="971637" y="454676"/>
                  <a:pt x="963699" y="466318"/>
                </a:cubicBezTo>
                <a:cubicBezTo>
                  <a:pt x="955762" y="477960"/>
                  <a:pt x="922424" y="471610"/>
                  <a:pt x="916074" y="479018"/>
                </a:cubicBezTo>
                <a:cubicBezTo>
                  <a:pt x="909724" y="486426"/>
                  <a:pt x="938828" y="500714"/>
                  <a:pt x="925599" y="510768"/>
                </a:cubicBezTo>
                <a:cubicBezTo>
                  <a:pt x="912370" y="520822"/>
                  <a:pt x="849399" y="529818"/>
                  <a:pt x="836699" y="539343"/>
                </a:cubicBezTo>
                <a:cubicBezTo>
                  <a:pt x="823999" y="548868"/>
                  <a:pt x="862628" y="559981"/>
                  <a:pt x="849399" y="567918"/>
                </a:cubicBezTo>
                <a:cubicBezTo>
                  <a:pt x="836170" y="575855"/>
                  <a:pt x="782724" y="585380"/>
                  <a:pt x="757324" y="586968"/>
                </a:cubicBezTo>
                <a:cubicBezTo>
                  <a:pt x="731924" y="588555"/>
                  <a:pt x="707053" y="580089"/>
                  <a:pt x="696999" y="577443"/>
                </a:cubicBezTo>
                <a:cubicBezTo>
                  <a:pt x="686945" y="574797"/>
                  <a:pt x="723457" y="568447"/>
                  <a:pt x="696999" y="571093"/>
                </a:cubicBezTo>
                <a:cubicBezTo>
                  <a:pt x="670541" y="573739"/>
                  <a:pt x="577936" y="584322"/>
                  <a:pt x="538249" y="593318"/>
                </a:cubicBezTo>
                <a:cubicBezTo>
                  <a:pt x="498562" y="602314"/>
                  <a:pt x="482157" y="615543"/>
                  <a:pt x="458874" y="625068"/>
                </a:cubicBezTo>
                <a:cubicBezTo>
                  <a:pt x="435591" y="634593"/>
                  <a:pt x="416541" y="645176"/>
                  <a:pt x="398549" y="650468"/>
                </a:cubicBezTo>
                <a:cubicBezTo>
                  <a:pt x="380557" y="655760"/>
                  <a:pt x="368916" y="653643"/>
                  <a:pt x="350924" y="656818"/>
                </a:cubicBezTo>
                <a:cubicBezTo>
                  <a:pt x="332932" y="659993"/>
                  <a:pt x="304886" y="663697"/>
                  <a:pt x="290599" y="669518"/>
                </a:cubicBezTo>
                <a:cubicBezTo>
                  <a:pt x="276312" y="675339"/>
                  <a:pt x="243503" y="693331"/>
                  <a:pt x="252499" y="707618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35" name="TextBox 34"/>
          <p:cNvSpPr txBox="1"/>
          <p:nvPr/>
        </p:nvSpPr>
        <p:spPr>
          <a:xfrm>
            <a:off x="6695497" y="4154250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Херсон</a:t>
            </a:r>
            <a:endParaRPr lang="uk-UA" sz="1236" b="1" dirty="0"/>
          </a:p>
        </p:txBody>
      </p:sp>
      <p:sp>
        <p:nvSpPr>
          <p:cNvPr id="36" name="Полілінія 35"/>
          <p:cNvSpPr/>
          <p:nvPr/>
        </p:nvSpPr>
        <p:spPr>
          <a:xfrm>
            <a:off x="6721162" y="4529135"/>
            <a:ext cx="2204901" cy="1030592"/>
          </a:xfrm>
          <a:custGeom>
            <a:avLst/>
            <a:gdLst>
              <a:gd name="connsiteX0" fmla="*/ 719605 w 2854802"/>
              <a:gd name="connsiteY0" fmla="*/ 29910 h 1334363"/>
              <a:gd name="connsiteX1" fmla="*/ 762333 w 2854802"/>
              <a:gd name="connsiteY1" fmla="*/ 111096 h 1334363"/>
              <a:gd name="connsiteX2" fmla="*/ 736696 w 2854802"/>
              <a:gd name="connsiteY2" fmla="*/ 162370 h 1334363"/>
              <a:gd name="connsiteX3" fmla="*/ 809335 w 2854802"/>
              <a:gd name="connsiteY3" fmla="*/ 209372 h 1334363"/>
              <a:gd name="connsiteX4" fmla="*/ 758061 w 2854802"/>
              <a:gd name="connsiteY4" fmla="*/ 260647 h 1334363"/>
              <a:gd name="connsiteX5" fmla="*/ 642692 w 2854802"/>
              <a:gd name="connsiteY5" fmla="*/ 260647 h 1334363"/>
              <a:gd name="connsiteX6" fmla="*/ 104307 w 2854802"/>
              <a:gd name="connsiteY6" fmla="*/ 529839 h 1334363"/>
              <a:gd name="connsiteX7" fmla="*/ 1758 w 2854802"/>
              <a:gd name="connsiteY7" fmla="*/ 576841 h 1334363"/>
              <a:gd name="connsiteX8" fmla="*/ 44487 w 2854802"/>
              <a:gd name="connsiteY8" fmla="*/ 679391 h 1334363"/>
              <a:gd name="connsiteX9" fmla="*/ 108580 w 2854802"/>
              <a:gd name="connsiteY9" fmla="*/ 653753 h 1334363"/>
              <a:gd name="connsiteX10" fmla="*/ 283769 w 2854802"/>
              <a:gd name="connsiteY10" fmla="*/ 628116 h 1334363"/>
              <a:gd name="connsiteX11" fmla="*/ 497414 w 2854802"/>
              <a:gd name="connsiteY11" fmla="*/ 764849 h 1334363"/>
              <a:gd name="connsiteX12" fmla="*/ 608509 w 2854802"/>
              <a:gd name="connsiteY12" fmla="*/ 747757 h 1334363"/>
              <a:gd name="connsiteX13" fmla="*/ 762333 w 2854802"/>
              <a:gd name="connsiteY13" fmla="*/ 858853 h 1334363"/>
              <a:gd name="connsiteX14" fmla="*/ 762333 w 2854802"/>
              <a:gd name="connsiteY14" fmla="*/ 1008404 h 1334363"/>
              <a:gd name="connsiteX15" fmla="*/ 736696 w 2854802"/>
              <a:gd name="connsiteY15" fmla="*/ 1200684 h 1334363"/>
              <a:gd name="connsiteX16" fmla="*/ 646965 w 2854802"/>
              <a:gd name="connsiteY16" fmla="*/ 1192138 h 1334363"/>
              <a:gd name="connsiteX17" fmla="*/ 685421 w 2854802"/>
              <a:gd name="connsiteY17" fmla="*/ 1307507 h 1334363"/>
              <a:gd name="connsiteX18" fmla="*/ 813608 w 2854802"/>
              <a:gd name="connsiteY18" fmla="*/ 1320325 h 1334363"/>
              <a:gd name="connsiteX19" fmla="*/ 1168259 w 2854802"/>
              <a:gd name="connsiteY19" fmla="*/ 1328871 h 1334363"/>
              <a:gd name="connsiteX20" fmla="*/ 1292173 w 2854802"/>
              <a:gd name="connsiteY20" fmla="*/ 1230595 h 1334363"/>
              <a:gd name="connsiteX21" fmla="*/ 1445997 w 2854802"/>
              <a:gd name="connsiteY21" fmla="*/ 1076770 h 1334363"/>
              <a:gd name="connsiteX22" fmla="*/ 1634005 w 2854802"/>
              <a:gd name="connsiteY22" fmla="*/ 1008404 h 1334363"/>
              <a:gd name="connsiteX23" fmla="*/ 1822012 w 2854802"/>
              <a:gd name="connsiteY23" fmla="*/ 1046860 h 1334363"/>
              <a:gd name="connsiteX24" fmla="*/ 1822012 w 2854802"/>
              <a:gd name="connsiteY24" fmla="*/ 948583 h 1334363"/>
              <a:gd name="connsiteX25" fmla="*/ 1980109 w 2854802"/>
              <a:gd name="connsiteY25" fmla="*/ 888763 h 1334363"/>
              <a:gd name="connsiteX26" fmla="*/ 2022838 w 2854802"/>
              <a:gd name="connsiteY26" fmla="*/ 790486 h 1334363"/>
              <a:gd name="connsiteX27" fmla="*/ 2069840 w 2854802"/>
              <a:gd name="connsiteY27" fmla="*/ 743484 h 1334363"/>
              <a:gd name="connsiteX28" fmla="*/ 2232210 w 2854802"/>
              <a:gd name="connsiteY28" fmla="*/ 773395 h 1334363"/>
              <a:gd name="connsiteX29" fmla="*/ 2296304 w 2854802"/>
              <a:gd name="connsiteY29" fmla="*/ 841761 h 1334363"/>
              <a:gd name="connsiteX30" fmla="*/ 2693683 w 2854802"/>
              <a:gd name="connsiteY30" fmla="*/ 764849 h 1334363"/>
              <a:gd name="connsiteX31" fmla="*/ 2685137 w 2854802"/>
              <a:gd name="connsiteY31" fmla="*/ 666572 h 1334363"/>
              <a:gd name="connsiteX32" fmla="*/ 2804778 w 2854802"/>
              <a:gd name="connsiteY32" fmla="*/ 542658 h 1334363"/>
              <a:gd name="connsiteX33" fmla="*/ 2847507 w 2854802"/>
              <a:gd name="connsiteY33" fmla="*/ 525567 h 1334363"/>
              <a:gd name="connsiteX34" fmla="*/ 2809051 w 2854802"/>
              <a:gd name="connsiteY34" fmla="*/ 478565 h 1334363"/>
              <a:gd name="connsiteX35" fmla="*/ 2428763 w 2854802"/>
              <a:gd name="connsiteY35" fmla="*/ 482838 h 1334363"/>
              <a:gd name="connsiteX36" fmla="*/ 2407399 w 2854802"/>
              <a:gd name="connsiteY36" fmla="*/ 546931 h 1334363"/>
              <a:gd name="connsiteX37" fmla="*/ 2321941 w 2854802"/>
              <a:gd name="connsiteY37" fmla="*/ 546931 h 1334363"/>
              <a:gd name="connsiteX38" fmla="*/ 2279212 w 2854802"/>
              <a:gd name="connsiteY38" fmla="*/ 487110 h 1334363"/>
              <a:gd name="connsiteX39" fmla="*/ 2240756 w 2854802"/>
              <a:gd name="connsiteY39" fmla="*/ 491383 h 1334363"/>
              <a:gd name="connsiteX40" fmla="*/ 2240756 w 2854802"/>
              <a:gd name="connsiteY40" fmla="*/ 555477 h 1334363"/>
              <a:gd name="connsiteX41" fmla="*/ 2155298 w 2854802"/>
              <a:gd name="connsiteY41" fmla="*/ 576841 h 1334363"/>
              <a:gd name="connsiteX42" fmla="*/ 2099750 w 2854802"/>
              <a:gd name="connsiteY42" fmla="*/ 619570 h 1334363"/>
              <a:gd name="connsiteX43" fmla="*/ 1775010 w 2854802"/>
              <a:gd name="connsiteY43" fmla="*/ 598206 h 1334363"/>
              <a:gd name="connsiteX44" fmla="*/ 1749373 w 2854802"/>
              <a:gd name="connsiteY44" fmla="*/ 478565 h 1334363"/>
              <a:gd name="connsiteX45" fmla="*/ 1672461 w 2854802"/>
              <a:gd name="connsiteY45" fmla="*/ 371742 h 1334363"/>
              <a:gd name="connsiteX46" fmla="*/ 1569911 w 2854802"/>
              <a:gd name="connsiteY46" fmla="*/ 333286 h 1334363"/>
              <a:gd name="connsiteX47" fmla="*/ 1505818 w 2854802"/>
              <a:gd name="connsiteY47" fmla="*/ 273466 h 1334363"/>
              <a:gd name="connsiteX48" fmla="*/ 1492999 w 2854802"/>
              <a:gd name="connsiteY48" fmla="*/ 235010 h 1334363"/>
              <a:gd name="connsiteX49" fmla="*/ 1360539 w 2854802"/>
              <a:gd name="connsiteY49" fmla="*/ 282011 h 1334363"/>
              <a:gd name="connsiteX50" fmla="*/ 1364812 w 2854802"/>
              <a:gd name="connsiteY50" fmla="*/ 200826 h 1334363"/>
              <a:gd name="connsiteX51" fmla="*/ 1441724 w 2854802"/>
              <a:gd name="connsiteY51" fmla="*/ 166643 h 1334363"/>
              <a:gd name="connsiteX52" fmla="*/ 1356266 w 2854802"/>
              <a:gd name="connsiteY52" fmla="*/ 162370 h 1334363"/>
              <a:gd name="connsiteX53" fmla="*/ 1287900 w 2854802"/>
              <a:gd name="connsiteY53" fmla="*/ 162370 h 1334363"/>
              <a:gd name="connsiteX54" fmla="*/ 1326356 w 2854802"/>
              <a:gd name="connsiteY54" fmla="*/ 119641 h 1334363"/>
              <a:gd name="connsiteX55" fmla="*/ 1061436 w 2854802"/>
              <a:gd name="connsiteY55" fmla="*/ 149552 h 1334363"/>
              <a:gd name="connsiteX56" fmla="*/ 1044345 w 2854802"/>
              <a:gd name="connsiteY56" fmla="*/ 64094 h 1334363"/>
              <a:gd name="connsiteX57" fmla="*/ 907612 w 2854802"/>
              <a:gd name="connsiteY57" fmla="*/ 89731 h 1334363"/>
              <a:gd name="connsiteX58" fmla="*/ 877702 w 2854802"/>
              <a:gd name="connsiteY58" fmla="*/ 34183 h 1334363"/>
              <a:gd name="connsiteX59" fmla="*/ 809335 w 2854802"/>
              <a:gd name="connsiteY59" fmla="*/ 0 h 1334363"/>
              <a:gd name="connsiteX60" fmla="*/ 719605 w 2854802"/>
              <a:gd name="connsiteY60" fmla="*/ 29910 h 133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2854802" h="1334363">
                <a:moveTo>
                  <a:pt x="719605" y="29910"/>
                </a:moveTo>
                <a:cubicBezTo>
                  <a:pt x="711771" y="48426"/>
                  <a:pt x="759485" y="89019"/>
                  <a:pt x="762333" y="111096"/>
                </a:cubicBezTo>
                <a:cubicBezTo>
                  <a:pt x="765181" y="133173"/>
                  <a:pt x="728862" y="145991"/>
                  <a:pt x="736696" y="162370"/>
                </a:cubicBezTo>
                <a:cubicBezTo>
                  <a:pt x="744530" y="178749"/>
                  <a:pt x="805774" y="192993"/>
                  <a:pt x="809335" y="209372"/>
                </a:cubicBezTo>
                <a:cubicBezTo>
                  <a:pt x="812896" y="225752"/>
                  <a:pt x="785835" y="252101"/>
                  <a:pt x="758061" y="260647"/>
                </a:cubicBezTo>
                <a:cubicBezTo>
                  <a:pt x="730287" y="269193"/>
                  <a:pt x="751651" y="215782"/>
                  <a:pt x="642692" y="260647"/>
                </a:cubicBezTo>
                <a:cubicBezTo>
                  <a:pt x="533733" y="305512"/>
                  <a:pt x="211129" y="477140"/>
                  <a:pt x="104307" y="529839"/>
                </a:cubicBezTo>
                <a:cubicBezTo>
                  <a:pt x="-2515" y="582538"/>
                  <a:pt x="11728" y="551916"/>
                  <a:pt x="1758" y="576841"/>
                </a:cubicBezTo>
                <a:cubicBezTo>
                  <a:pt x="-8212" y="601766"/>
                  <a:pt x="26683" y="666572"/>
                  <a:pt x="44487" y="679391"/>
                </a:cubicBezTo>
                <a:cubicBezTo>
                  <a:pt x="62291" y="692210"/>
                  <a:pt x="68700" y="662299"/>
                  <a:pt x="108580" y="653753"/>
                </a:cubicBezTo>
                <a:cubicBezTo>
                  <a:pt x="148460" y="645207"/>
                  <a:pt x="218964" y="609600"/>
                  <a:pt x="283769" y="628116"/>
                </a:cubicBezTo>
                <a:cubicBezTo>
                  <a:pt x="348574" y="646632"/>
                  <a:pt x="443291" y="744909"/>
                  <a:pt x="497414" y="764849"/>
                </a:cubicBezTo>
                <a:cubicBezTo>
                  <a:pt x="551537" y="784789"/>
                  <a:pt x="564356" y="732090"/>
                  <a:pt x="608509" y="747757"/>
                </a:cubicBezTo>
                <a:cubicBezTo>
                  <a:pt x="652662" y="763424"/>
                  <a:pt x="736696" y="815412"/>
                  <a:pt x="762333" y="858853"/>
                </a:cubicBezTo>
                <a:cubicBezTo>
                  <a:pt x="787970" y="902294"/>
                  <a:pt x="766606" y="951432"/>
                  <a:pt x="762333" y="1008404"/>
                </a:cubicBezTo>
                <a:cubicBezTo>
                  <a:pt x="758060" y="1065376"/>
                  <a:pt x="755924" y="1170062"/>
                  <a:pt x="736696" y="1200684"/>
                </a:cubicBezTo>
                <a:cubicBezTo>
                  <a:pt x="717468" y="1231306"/>
                  <a:pt x="655511" y="1174334"/>
                  <a:pt x="646965" y="1192138"/>
                </a:cubicBezTo>
                <a:cubicBezTo>
                  <a:pt x="638419" y="1209942"/>
                  <a:pt x="657647" y="1286143"/>
                  <a:pt x="685421" y="1307507"/>
                </a:cubicBezTo>
                <a:cubicBezTo>
                  <a:pt x="713195" y="1328872"/>
                  <a:pt x="733135" y="1316764"/>
                  <a:pt x="813608" y="1320325"/>
                </a:cubicBezTo>
                <a:cubicBezTo>
                  <a:pt x="894081" y="1323886"/>
                  <a:pt x="1088498" y="1343826"/>
                  <a:pt x="1168259" y="1328871"/>
                </a:cubicBezTo>
                <a:cubicBezTo>
                  <a:pt x="1248020" y="1313916"/>
                  <a:pt x="1245883" y="1272612"/>
                  <a:pt x="1292173" y="1230595"/>
                </a:cubicBezTo>
                <a:cubicBezTo>
                  <a:pt x="1338463" y="1188578"/>
                  <a:pt x="1389025" y="1113802"/>
                  <a:pt x="1445997" y="1076770"/>
                </a:cubicBezTo>
                <a:cubicBezTo>
                  <a:pt x="1502969" y="1039738"/>
                  <a:pt x="1571336" y="1013389"/>
                  <a:pt x="1634005" y="1008404"/>
                </a:cubicBezTo>
                <a:cubicBezTo>
                  <a:pt x="1696674" y="1003419"/>
                  <a:pt x="1790678" y="1056830"/>
                  <a:pt x="1822012" y="1046860"/>
                </a:cubicBezTo>
                <a:cubicBezTo>
                  <a:pt x="1853346" y="1036890"/>
                  <a:pt x="1795663" y="974932"/>
                  <a:pt x="1822012" y="948583"/>
                </a:cubicBezTo>
                <a:cubicBezTo>
                  <a:pt x="1848361" y="922234"/>
                  <a:pt x="1946638" y="915112"/>
                  <a:pt x="1980109" y="888763"/>
                </a:cubicBezTo>
                <a:cubicBezTo>
                  <a:pt x="2013580" y="862414"/>
                  <a:pt x="2007883" y="814699"/>
                  <a:pt x="2022838" y="790486"/>
                </a:cubicBezTo>
                <a:cubicBezTo>
                  <a:pt x="2037793" y="766273"/>
                  <a:pt x="2034945" y="746332"/>
                  <a:pt x="2069840" y="743484"/>
                </a:cubicBezTo>
                <a:cubicBezTo>
                  <a:pt x="2104735" y="740636"/>
                  <a:pt x="2194466" y="757016"/>
                  <a:pt x="2232210" y="773395"/>
                </a:cubicBezTo>
                <a:cubicBezTo>
                  <a:pt x="2269954" y="789774"/>
                  <a:pt x="2219392" y="843185"/>
                  <a:pt x="2296304" y="841761"/>
                </a:cubicBezTo>
                <a:cubicBezTo>
                  <a:pt x="2373216" y="840337"/>
                  <a:pt x="2628878" y="794047"/>
                  <a:pt x="2693683" y="764849"/>
                </a:cubicBezTo>
                <a:cubicBezTo>
                  <a:pt x="2758489" y="735651"/>
                  <a:pt x="2666621" y="703604"/>
                  <a:pt x="2685137" y="666572"/>
                </a:cubicBezTo>
                <a:cubicBezTo>
                  <a:pt x="2703653" y="629540"/>
                  <a:pt x="2777716" y="566159"/>
                  <a:pt x="2804778" y="542658"/>
                </a:cubicBezTo>
                <a:cubicBezTo>
                  <a:pt x="2831840" y="519157"/>
                  <a:pt x="2846795" y="536249"/>
                  <a:pt x="2847507" y="525567"/>
                </a:cubicBezTo>
                <a:cubicBezTo>
                  <a:pt x="2848219" y="514885"/>
                  <a:pt x="2878842" y="485687"/>
                  <a:pt x="2809051" y="478565"/>
                </a:cubicBezTo>
                <a:cubicBezTo>
                  <a:pt x="2739260" y="471444"/>
                  <a:pt x="2495705" y="471444"/>
                  <a:pt x="2428763" y="482838"/>
                </a:cubicBezTo>
                <a:cubicBezTo>
                  <a:pt x="2361821" y="494232"/>
                  <a:pt x="2425203" y="536249"/>
                  <a:pt x="2407399" y="546931"/>
                </a:cubicBezTo>
                <a:cubicBezTo>
                  <a:pt x="2389595" y="557613"/>
                  <a:pt x="2343306" y="556901"/>
                  <a:pt x="2321941" y="546931"/>
                </a:cubicBezTo>
                <a:cubicBezTo>
                  <a:pt x="2300576" y="536961"/>
                  <a:pt x="2292743" y="496368"/>
                  <a:pt x="2279212" y="487110"/>
                </a:cubicBezTo>
                <a:cubicBezTo>
                  <a:pt x="2265681" y="477852"/>
                  <a:pt x="2247165" y="479989"/>
                  <a:pt x="2240756" y="491383"/>
                </a:cubicBezTo>
                <a:cubicBezTo>
                  <a:pt x="2234347" y="502777"/>
                  <a:pt x="2254999" y="541234"/>
                  <a:pt x="2240756" y="555477"/>
                </a:cubicBezTo>
                <a:cubicBezTo>
                  <a:pt x="2226513" y="569720"/>
                  <a:pt x="2178799" y="566159"/>
                  <a:pt x="2155298" y="576841"/>
                </a:cubicBezTo>
                <a:cubicBezTo>
                  <a:pt x="2131797" y="587523"/>
                  <a:pt x="2163131" y="616009"/>
                  <a:pt x="2099750" y="619570"/>
                </a:cubicBezTo>
                <a:cubicBezTo>
                  <a:pt x="2036369" y="623131"/>
                  <a:pt x="1833406" y="621707"/>
                  <a:pt x="1775010" y="598206"/>
                </a:cubicBezTo>
                <a:cubicBezTo>
                  <a:pt x="1716614" y="574705"/>
                  <a:pt x="1766465" y="516309"/>
                  <a:pt x="1749373" y="478565"/>
                </a:cubicBezTo>
                <a:cubicBezTo>
                  <a:pt x="1732282" y="440821"/>
                  <a:pt x="1702371" y="395955"/>
                  <a:pt x="1672461" y="371742"/>
                </a:cubicBezTo>
                <a:cubicBezTo>
                  <a:pt x="1642551" y="347529"/>
                  <a:pt x="1597685" y="349665"/>
                  <a:pt x="1569911" y="333286"/>
                </a:cubicBezTo>
                <a:cubicBezTo>
                  <a:pt x="1542137" y="316907"/>
                  <a:pt x="1518637" y="289845"/>
                  <a:pt x="1505818" y="273466"/>
                </a:cubicBezTo>
                <a:cubicBezTo>
                  <a:pt x="1492999" y="257087"/>
                  <a:pt x="1517212" y="233586"/>
                  <a:pt x="1492999" y="235010"/>
                </a:cubicBezTo>
                <a:cubicBezTo>
                  <a:pt x="1468786" y="236434"/>
                  <a:pt x="1381903" y="287708"/>
                  <a:pt x="1360539" y="282011"/>
                </a:cubicBezTo>
                <a:cubicBezTo>
                  <a:pt x="1339175" y="276314"/>
                  <a:pt x="1351281" y="220054"/>
                  <a:pt x="1364812" y="200826"/>
                </a:cubicBezTo>
                <a:cubicBezTo>
                  <a:pt x="1378343" y="181598"/>
                  <a:pt x="1443148" y="173052"/>
                  <a:pt x="1441724" y="166643"/>
                </a:cubicBezTo>
                <a:cubicBezTo>
                  <a:pt x="1440300" y="160234"/>
                  <a:pt x="1381903" y="163082"/>
                  <a:pt x="1356266" y="162370"/>
                </a:cubicBezTo>
                <a:cubicBezTo>
                  <a:pt x="1330629" y="161658"/>
                  <a:pt x="1292885" y="169492"/>
                  <a:pt x="1287900" y="162370"/>
                </a:cubicBezTo>
                <a:cubicBezTo>
                  <a:pt x="1282915" y="155248"/>
                  <a:pt x="1364100" y="121777"/>
                  <a:pt x="1326356" y="119641"/>
                </a:cubicBezTo>
                <a:cubicBezTo>
                  <a:pt x="1288612" y="117505"/>
                  <a:pt x="1108438" y="158810"/>
                  <a:pt x="1061436" y="149552"/>
                </a:cubicBezTo>
                <a:cubicBezTo>
                  <a:pt x="1014434" y="140294"/>
                  <a:pt x="1069982" y="74064"/>
                  <a:pt x="1044345" y="64094"/>
                </a:cubicBezTo>
                <a:cubicBezTo>
                  <a:pt x="1018708" y="54124"/>
                  <a:pt x="935386" y="94716"/>
                  <a:pt x="907612" y="89731"/>
                </a:cubicBezTo>
                <a:cubicBezTo>
                  <a:pt x="879838" y="84746"/>
                  <a:pt x="894082" y="49138"/>
                  <a:pt x="877702" y="34183"/>
                </a:cubicBezTo>
                <a:cubicBezTo>
                  <a:pt x="861323" y="19228"/>
                  <a:pt x="832836" y="0"/>
                  <a:pt x="809335" y="0"/>
                </a:cubicBezTo>
                <a:cubicBezTo>
                  <a:pt x="785834" y="0"/>
                  <a:pt x="727439" y="11394"/>
                  <a:pt x="719605" y="29910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37" name="TextBox 36"/>
          <p:cNvSpPr txBox="1"/>
          <p:nvPr/>
        </p:nvSpPr>
        <p:spPr>
          <a:xfrm>
            <a:off x="7343758" y="4945439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Крим</a:t>
            </a:r>
            <a:endParaRPr lang="uk-UA" sz="1236" b="1" dirty="0"/>
          </a:p>
        </p:txBody>
      </p:sp>
      <p:sp>
        <p:nvSpPr>
          <p:cNvPr id="38" name="Полілінія 37"/>
          <p:cNvSpPr/>
          <p:nvPr/>
        </p:nvSpPr>
        <p:spPr>
          <a:xfrm>
            <a:off x="5696270" y="880553"/>
            <a:ext cx="1332082" cy="1216015"/>
          </a:xfrm>
          <a:custGeom>
            <a:avLst/>
            <a:gdLst>
              <a:gd name="connsiteX0" fmla="*/ 23828 w 1724717"/>
              <a:gd name="connsiteY0" fmla="*/ 874483 h 1574439"/>
              <a:gd name="connsiteX1" fmla="*/ 52255 w 1724717"/>
              <a:gd name="connsiteY1" fmla="*/ 765513 h 1574439"/>
              <a:gd name="connsiteX2" fmla="*/ 139 w 1724717"/>
              <a:gd name="connsiteY2" fmla="*/ 618641 h 1574439"/>
              <a:gd name="connsiteX3" fmla="*/ 71206 w 1724717"/>
              <a:gd name="connsiteY3" fmla="*/ 457555 h 1574439"/>
              <a:gd name="connsiteX4" fmla="*/ 222817 w 1724717"/>
              <a:gd name="connsiteY4" fmla="*/ 343847 h 1574439"/>
              <a:gd name="connsiteX5" fmla="*/ 232292 w 1724717"/>
              <a:gd name="connsiteY5" fmla="*/ 291731 h 1574439"/>
              <a:gd name="connsiteX6" fmla="*/ 421805 w 1724717"/>
              <a:gd name="connsiteY6" fmla="*/ 286993 h 1574439"/>
              <a:gd name="connsiteX7" fmla="*/ 544989 w 1724717"/>
              <a:gd name="connsiteY7" fmla="*/ 234877 h 1574439"/>
              <a:gd name="connsiteX8" fmla="*/ 947704 w 1724717"/>
              <a:gd name="connsiteY8" fmla="*/ 296469 h 1574439"/>
              <a:gd name="connsiteX9" fmla="*/ 1032984 w 1724717"/>
              <a:gd name="connsiteY9" fmla="*/ 225402 h 1574439"/>
              <a:gd name="connsiteX10" fmla="*/ 1061411 w 1724717"/>
              <a:gd name="connsiteY10" fmla="*/ 92742 h 1574439"/>
              <a:gd name="connsiteX11" fmla="*/ 1184595 w 1724717"/>
              <a:gd name="connsiteY11" fmla="*/ 59578 h 1574439"/>
              <a:gd name="connsiteX12" fmla="*/ 1279351 w 1724717"/>
              <a:gd name="connsiteY12" fmla="*/ 111694 h 1574439"/>
              <a:gd name="connsiteX13" fmla="*/ 1430962 w 1724717"/>
              <a:gd name="connsiteY13" fmla="*/ 125907 h 1574439"/>
              <a:gd name="connsiteX14" fmla="*/ 1587310 w 1724717"/>
              <a:gd name="connsiteY14" fmla="*/ 2724 h 1574439"/>
              <a:gd name="connsiteX15" fmla="*/ 1677329 w 1724717"/>
              <a:gd name="connsiteY15" fmla="*/ 50102 h 1574439"/>
              <a:gd name="connsiteX16" fmla="*/ 1625212 w 1724717"/>
              <a:gd name="connsiteY16" fmla="*/ 159072 h 1574439"/>
              <a:gd name="connsiteX17" fmla="*/ 1663115 w 1724717"/>
              <a:gd name="connsiteY17" fmla="*/ 206450 h 1574439"/>
              <a:gd name="connsiteX18" fmla="*/ 1724707 w 1724717"/>
              <a:gd name="connsiteY18" fmla="*/ 253828 h 1574439"/>
              <a:gd name="connsiteX19" fmla="*/ 1658377 w 1724717"/>
              <a:gd name="connsiteY19" fmla="*/ 305945 h 1574439"/>
              <a:gd name="connsiteX20" fmla="*/ 1658377 w 1724717"/>
              <a:gd name="connsiteY20" fmla="*/ 334371 h 1574439"/>
              <a:gd name="connsiteX21" fmla="*/ 1497291 w 1724717"/>
              <a:gd name="connsiteY21" fmla="*/ 433866 h 1574439"/>
              <a:gd name="connsiteX22" fmla="*/ 1530456 w 1724717"/>
              <a:gd name="connsiteY22" fmla="*/ 538098 h 1574439"/>
              <a:gd name="connsiteX23" fmla="*/ 1563621 w 1724717"/>
              <a:gd name="connsiteY23" fmla="*/ 684970 h 1574439"/>
              <a:gd name="connsiteX24" fmla="*/ 1506767 w 1724717"/>
              <a:gd name="connsiteY24" fmla="*/ 770251 h 1574439"/>
              <a:gd name="connsiteX25" fmla="*/ 1483078 w 1724717"/>
              <a:gd name="connsiteY25" fmla="*/ 793940 h 1574439"/>
              <a:gd name="connsiteX26" fmla="*/ 1502029 w 1724717"/>
              <a:gd name="connsiteY26" fmla="*/ 869746 h 1574439"/>
              <a:gd name="connsiteX27" fmla="*/ 1459389 w 1724717"/>
              <a:gd name="connsiteY27" fmla="*/ 917124 h 1574439"/>
              <a:gd name="connsiteX28" fmla="*/ 1435700 w 1724717"/>
              <a:gd name="connsiteY28" fmla="*/ 973978 h 1574439"/>
              <a:gd name="connsiteX29" fmla="*/ 1573096 w 1724717"/>
              <a:gd name="connsiteY29" fmla="*/ 1059259 h 1574439"/>
              <a:gd name="connsiteX30" fmla="*/ 1596786 w 1724717"/>
              <a:gd name="connsiteY30" fmla="*/ 1135064 h 1574439"/>
              <a:gd name="connsiteX31" fmla="*/ 1554145 w 1724717"/>
              <a:gd name="connsiteY31" fmla="*/ 1215607 h 1574439"/>
              <a:gd name="connsiteX32" fmla="*/ 1573096 w 1724717"/>
              <a:gd name="connsiteY32" fmla="*/ 1244034 h 1574439"/>
              <a:gd name="connsiteX33" fmla="*/ 1568359 w 1724717"/>
              <a:gd name="connsiteY33" fmla="*/ 1296150 h 1574439"/>
              <a:gd name="connsiteX34" fmla="*/ 1525718 w 1724717"/>
              <a:gd name="connsiteY34" fmla="*/ 1338790 h 1574439"/>
              <a:gd name="connsiteX35" fmla="*/ 1525718 w 1724717"/>
              <a:gd name="connsiteY35" fmla="*/ 1300888 h 1574439"/>
              <a:gd name="connsiteX36" fmla="*/ 1539932 w 1724717"/>
              <a:gd name="connsiteY36" fmla="*/ 1386168 h 1574439"/>
              <a:gd name="connsiteX37" fmla="*/ 1539932 w 1724717"/>
              <a:gd name="connsiteY37" fmla="*/ 1428809 h 1574439"/>
              <a:gd name="connsiteX38" fmla="*/ 1326730 w 1724717"/>
              <a:gd name="connsiteY38" fmla="*/ 1570944 h 1574439"/>
              <a:gd name="connsiteX39" fmla="*/ 1165644 w 1724717"/>
              <a:gd name="connsiteY39" fmla="*/ 1533041 h 1574439"/>
              <a:gd name="connsiteX40" fmla="*/ 942966 w 1724717"/>
              <a:gd name="connsiteY40" fmla="*/ 1556730 h 1574439"/>
              <a:gd name="connsiteX41" fmla="*/ 867161 w 1724717"/>
              <a:gd name="connsiteY41" fmla="*/ 1490400 h 1574439"/>
              <a:gd name="connsiteX42" fmla="*/ 900325 w 1724717"/>
              <a:gd name="connsiteY42" fmla="*/ 1438284 h 1574439"/>
              <a:gd name="connsiteX43" fmla="*/ 838734 w 1724717"/>
              <a:gd name="connsiteY43" fmla="*/ 1428809 h 1574439"/>
              <a:gd name="connsiteX44" fmla="*/ 824520 w 1724717"/>
              <a:gd name="connsiteY44" fmla="*/ 1376693 h 1574439"/>
              <a:gd name="connsiteX45" fmla="*/ 649221 w 1724717"/>
              <a:gd name="connsiteY45" fmla="*/ 1461974 h 1574439"/>
              <a:gd name="connsiteX46" fmla="*/ 563940 w 1724717"/>
              <a:gd name="connsiteY46" fmla="*/ 1471449 h 1574439"/>
              <a:gd name="connsiteX47" fmla="*/ 379165 w 1724717"/>
              <a:gd name="connsiteY47" fmla="*/ 1419333 h 1574439"/>
              <a:gd name="connsiteX48" fmla="*/ 417067 w 1724717"/>
              <a:gd name="connsiteY48" fmla="*/ 1371955 h 1574439"/>
              <a:gd name="connsiteX49" fmla="*/ 336524 w 1724717"/>
              <a:gd name="connsiteY49" fmla="*/ 1281936 h 1574439"/>
              <a:gd name="connsiteX50" fmla="*/ 99633 w 1724717"/>
              <a:gd name="connsiteY50" fmla="*/ 1281936 h 1574439"/>
              <a:gd name="connsiteX51" fmla="*/ 142274 w 1724717"/>
              <a:gd name="connsiteY51" fmla="*/ 1234558 h 1574439"/>
              <a:gd name="connsiteX52" fmla="*/ 47517 w 1724717"/>
              <a:gd name="connsiteY52" fmla="*/ 1168228 h 1574439"/>
              <a:gd name="connsiteX53" fmla="*/ 33304 w 1724717"/>
              <a:gd name="connsiteY53" fmla="*/ 1087685 h 1574439"/>
              <a:gd name="connsiteX54" fmla="*/ 33304 w 1724717"/>
              <a:gd name="connsiteY54" fmla="*/ 964502 h 1574439"/>
              <a:gd name="connsiteX55" fmla="*/ 23828 w 1724717"/>
              <a:gd name="connsiteY55" fmla="*/ 874483 h 1574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24717" h="1574439">
                <a:moveTo>
                  <a:pt x="23828" y="874483"/>
                </a:moveTo>
                <a:cubicBezTo>
                  <a:pt x="26987" y="841318"/>
                  <a:pt x="56203" y="808153"/>
                  <a:pt x="52255" y="765513"/>
                </a:cubicBezTo>
                <a:cubicBezTo>
                  <a:pt x="48307" y="722873"/>
                  <a:pt x="-3019" y="669967"/>
                  <a:pt x="139" y="618641"/>
                </a:cubicBezTo>
                <a:cubicBezTo>
                  <a:pt x="3297" y="567315"/>
                  <a:pt x="34093" y="503354"/>
                  <a:pt x="71206" y="457555"/>
                </a:cubicBezTo>
                <a:cubicBezTo>
                  <a:pt x="108319" y="411756"/>
                  <a:pt x="195969" y="371484"/>
                  <a:pt x="222817" y="343847"/>
                </a:cubicBezTo>
                <a:cubicBezTo>
                  <a:pt x="249665" y="316210"/>
                  <a:pt x="199127" y="301207"/>
                  <a:pt x="232292" y="291731"/>
                </a:cubicBezTo>
                <a:cubicBezTo>
                  <a:pt x="265457" y="282255"/>
                  <a:pt x="369689" y="296469"/>
                  <a:pt x="421805" y="286993"/>
                </a:cubicBezTo>
                <a:cubicBezTo>
                  <a:pt x="473921" y="277517"/>
                  <a:pt x="457339" y="233298"/>
                  <a:pt x="544989" y="234877"/>
                </a:cubicBezTo>
                <a:cubicBezTo>
                  <a:pt x="632639" y="236456"/>
                  <a:pt x="866372" y="298048"/>
                  <a:pt x="947704" y="296469"/>
                </a:cubicBezTo>
                <a:cubicBezTo>
                  <a:pt x="1029036" y="294890"/>
                  <a:pt x="1014033" y="259356"/>
                  <a:pt x="1032984" y="225402"/>
                </a:cubicBezTo>
                <a:cubicBezTo>
                  <a:pt x="1051935" y="191448"/>
                  <a:pt x="1036143" y="120379"/>
                  <a:pt x="1061411" y="92742"/>
                </a:cubicBezTo>
                <a:cubicBezTo>
                  <a:pt x="1086679" y="65105"/>
                  <a:pt x="1148272" y="56419"/>
                  <a:pt x="1184595" y="59578"/>
                </a:cubicBezTo>
                <a:cubicBezTo>
                  <a:pt x="1220918" y="62737"/>
                  <a:pt x="1238290" y="100639"/>
                  <a:pt x="1279351" y="111694"/>
                </a:cubicBezTo>
                <a:cubicBezTo>
                  <a:pt x="1320412" y="122749"/>
                  <a:pt x="1379636" y="144069"/>
                  <a:pt x="1430962" y="125907"/>
                </a:cubicBezTo>
                <a:cubicBezTo>
                  <a:pt x="1482288" y="107745"/>
                  <a:pt x="1546249" y="15358"/>
                  <a:pt x="1587310" y="2724"/>
                </a:cubicBezTo>
                <a:cubicBezTo>
                  <a:pt x="1628371" y="-9910"/>
                  <a:pt x="1671012" y="24044"/>
                  <a:pt x="1677329" y="50102"/>
                </a:cubicBezTo>
                <a:cubicBezTo>
                  <a:pt x="1683646" y="76160"/>
                  <a:pt x="1627581" y="133014"/>
                  <a:pt x="1625212" y="159072"/>
                </a:cubicBezTo>
                <a:cubicBezTo>
                  <a:pt x="1622843" y="185130"/>
                  <a:pt x="1646533" y="190657"/>
                  <a:pt x="1663115" y="206450"/>
                </a:cubicBezTo>
                <a:cubicBezTo>
                  <a:pt x="1679697" y="222243"/>
                  <a:pt x="1725497" y="237246"/>
                  <a:pt x="1724707" y="253828"/>
                </a:cubicBezTo>
                <a:cubicBezTo>
                  <a:pt x="1723917" y="270410"/>
                  <a:pt x="1669432" y="292521"/>
                  <a:pt x="1658377" y="305945"/>
                </a:cubicBezTo>
                <a:cubicBezTo>
                  <a:pt x="1647322" y="319369"/>
                  <a:pt x="1685225" y="313051"/>
                  <a:pt x="1658377" y="334371"/>
                </a:cubicBezTo>
                <a:cubicBezTo>
                  <a:pt x="1631529" y="355691"/>
                  <a:pt x="1518611" y="399911"/>
                  <a:pt x="1497291" y="433866"/>
                </a:cubicBezTo>
                <a:cubicBezTo>
                  <a:pt x="1475971" y="467820"/>
                  <a:pt x="1519401" y="496247"/>
                  <a:pt x="1530456" y="538098"/>
                </a:cubicBezTo>
                <a:cubicBezTo>
                  <a:pt x="1541511" y="579949"/>
                  <a:pt x="1567569" y="646278"/>
                  <a:pt x="1563621" y="684970"/>
                </a:cubicBezTo>
                <a:cubicBezTo>
                  <a:pt x="1559673" y="723662"/>
                  <a:pt x="1520191" y="752089"/>
                  <a:pt x="1506767" y="770251"/>
                </a:cubicBezTo>
                <a:cubicBezTo>
                  <a:pt x="1493343" y="788413"/>
                  <a:pt x="1483868" y="777358"/>
                  <a:pt x="1483078" y="793940"/>
                </a:cubicBezTo>
                <a:cubicBezTo>
                  <a:pt x="1482288" y="810522"/>
                  <a:pt x="1505977" y="849215"/>
                  <a:pt x="1502029" y="869746"/>
                </a:cubicBezTo>
                <a:cubicBezTo>
                  <a:pt x="1498081" y="890277"/>
                  <a:pt x="1470444" y="899752"/>
                  <a:pt x="1459389" y="917124"/>
                </a:cubicBezTo>
                <a:cubicBezTo>
                  <a:pt x="1448334" y="934496"/>
                  <a:pt x="1416749" y="950289"/>
                  <a:pt x="1435700" y="973978"/>
                </a:cubicBezTo>
                <a:cubicBezTo>
                  <a:pt x="1454651" y="997667"/>
                  <a:pt x="1546248" y="1032411"/>
                  <a:pt x="1573096" y="1059259"/>
                </a:cubicBezTo>
                <a:cubicBezTo>
                  <a:pt x="1599944" y="1086107"/>
                  <a:pt x="1599945" y="1109006"/>
                  <a:pt x="1596786" y="1135064"/>
                </a:cubicBezTo>
                <a:cubicBezTo>
                  <a:pt x="1593628" y="1161122"/>
                  <a:pt x="1558093" y="1197445"/>
                  <a:pt x="1554145" y="1215607"/>
                </a:cubicBezTo>
                <a:cubicBezTo>
                  <a:pt x="1550197" y="1233769"/>
                  <a:pt x="1570727" y="1230610"/>
                  <a:pt x="1573096" y="1244034"/>
                </a:cubicBezTo>
                <a:cubicBezTo>
                  <a:pt x="1575465" y="1257458"/>
                  <a:pt x="1576255" y="1280357"/>
                  <a:pt x="1568359" y="1296150"/>
                </a:cubicBezTo>
                <a:cubicBezTo>
                  <a:pt x="1560463" y="1311943"/>
                  <a:pt x="1532825" y="1338000"/>
                  <a:pt x="1525718" y="1338790"/>
                </a:cubicBezTo>
                <a:cubicBezTo>
                  <a:pt x="1518611" y="1339580"/>
                  <a:pt x="1523349" y="1292992"/>
                  <a:pt x="1525718" y="1300888"/>
                </a:cubicBezTo>
                <a:cubicBezTo>
                  <a:pt x="1528087" y="1308784"/>
                  <a:pt x="1537563" y="1364848"/>
                  <a:pt x="1539932" y="1386168"/>
                </a:cubicBezTo>
                <a:cubicBezTo>
                  <a:pt x="1542301" y="1407488"/>
                  <a:pt x="1575466" y="1398013"/>
                  <a:pt x="1539932" y="1428809"/>
                </a:cubicBezTo>
                <a:cubicBezTo>
                  <a:pt x="1504398" y="1459605"/>
                  <a:pt x="1389111" y="1553572"/>
                  <a:pt x="1326730" y="1570944"/>
                </a:cubicBezTo>
                <a:cubicBezTo>
                  <a:pt x="1264349" y="1588316"/>
                  <a:pt x="1229605" y="1535410"/>
                  <a:pt x="1165644" y="1533041"/>
                </a:cubicBezTo>
                <a:cubicBezTo>
                  <a:pt x="1101683" y="1530672"/>
                  <a:pt x="992713" y="1563837"/>
                  <a:pt x="942966" y="1556730"/>
                </a:cubicBezTo>
                <a:cubicBezTo>
                  <a:pt x="893219" y="1549623"/>
                  <a:pt x="874268" y="1510141"/>
                  <a:pt x="867161" y="1490400"/>
                </a:cubicBezTo>
                <a:cubicBezTo>
                  <a:pt x="860054" y="1470659"/>
                  <a:pt x="905063" y="1448549"/>
                  <a:pt x="900325" y="1438284"/>
                </a:cubicBezTo>
                <a:cubicBezTo>
                  <a:pt x="895587" y="1428019"/>
                  <a:pt x="851368" y="1439074"/>
                  <a:pt x="838734" y="1428809"/>
                </a:cubicBezTo>
                <a:cubicBezTo>
                  <a:pt x="826100" y="1418544"/>
                  <a:pt x="856106" y="1371166"/>
                  <a:pt x="824520" y="1376693"/>
                </a:cubicBezTo>
                <a:cubicBezTo>
                  <a:pt x="792935" y="1382221"/>
                  <a:pt x="692651" y="1446181"/>
                  <a:pt x="649221" y="1461974"/>
                </a:cubicBezTo>
                <a:cubicBezTo>
                  <a:pt x="605791" y="1477767"/>
                  <a:pt x="608949" y="1478556"/>
                  <a:pt x="563940" y="1471449"/>
                </a:cubicBezTo>
                <a:cubicBezTo>
                  <a:pt x="518931" y="1464342"/>
                  <a:pt x="403644" y="1435915"/>
                  <a:pt x="379165" y="1419333"/>
                </a:cubicBezTo>
                <a:cubicBezTo>
                  <a:pt x="354686" y="1402751"/>
                  <a:pt x="424174" y="1394855"/>
                  <a:pt x="417067" y="1371955"/>
                </a:cubicBezTo>
                <a:cubicBezTo>
                  <a:pt x="409960" y="1349056"/>
                  <a:pt x="389430" y="1296939"/>
                  <a:pt x="336524" y="1281936"/>
                </a:cubicBezTo>
                <a:cubicBezTo>
                  <a:pt x="283618" y="1266933"/>
                  <a:pt x="132008" y="1289832"/>
                  <a:pt x="99633" y="1281936"/>
                </a:cubicBezTo>
                <a:cubicBezTo>
                  <a:pt x="67258" y="1274040"/>
                  <a:pt x="150960" y="1253509"/>
                  <a:pt x="142274" y="1234558"/>
                </a:cubicBezTo>
                <a:cubicBezTo>
                  <a:pt x="133588" y="1215607"/>
                  <a:pt x="65679" y="1192707"/>
                  <a:pt x="47517" y="1168228"/>
                </a:cubicBezTo>
                <a:cubicBezTo>
                  <a:pt x="29355" y="1143749"/>
                  <a:pt x="35673" y="1121639"/>
                  <a:pt x="33304" y="1087685"/>
                </a:cubicBezTo>
                <a:cubicBezTo>
                  <a:pt x="30935" y="1053731"/>
                  <a:pt x="34094" y="995298"/>
                  <a:pt x="33304" y="964502"/>
                </a:cubicBezTo>
                <a:cubicBezTo>
                  <a:pt x="32514" y="933706"/>
                  <a:pt x="20669" y="907648"/>
                  <a:pt x="23828" y="874483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39" name="TextBox 38"/>
          <p:cNvSpPr txBox="1"/>
          <p:nvPr/>
        </p:nvSpPr>
        <p:spPr>
          <a:xfrm>
            <a:off x="5979137" y="1324642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Чернігів</a:t>
            </a:r>
            <a:endParaRPr lang="uk-UA" sz="1236" b="1" dirty="0"/>
          </a:p>
        </p:txBody>
      </p:sp>
      <p:sp>
        <p:nvSpPr>
          <p:cNvPr id="40" name="Полілінія 39"/>
          <p:cNvSpPr/>
          <p:nvPr/>
        </p:nvSpPr>
        <p:spPr>
          <a:xfrm>
            <a:off x="6827784" y="897093"/>
            <a:ext cx="1291828" cy="1299510"/>
          </a:xfrm>
          <a:custGeom>
            <a:avLst/>
            <a:gdLst>
              <a:gd name="connsiteX0" fmla="*/ 237299 w 1672598"/>
              <a:gd name="connsiteY0" fmla="*/ 9760 h 1682544"/>
              <a:gd name="connsiteX1" fmla="*/ 297624 w 1672598"/>
              <a:gd name="connsiteY1" fmla="*/ 51035 h 1682544"/>
              <a:gd name="connsiteX2" fmla="*/ 373824 w 1672598"/>
              <a:gd name="connsiteY2" fmla="*/ 6585 h 1682544"/>
              <a:gd name="connsiteX3" fmla="*/ 497649 w 1672598"/>
              <a:gd name="connsiteY3" fmla="*/ 6585 h 1682544"/>
              <a:gd name="connsiteX4" fmla="*/ 516699 w 1672598"/>
              <a:gd name="connsiteY4" fmla="*/ 66910 h 1682544"/>
              <a:gd name="connsiteX5" fmla="*/ 621474 w 1672598"/>
              <a:gd name="connsiteY5" fmla="*/ 143110 h 1682544"/>
              <a:gd name="connsiteX6" fmla="*/ 637349 w 1672598"/>
              <a:gd name="connsiteY6" fmla="*/ 235185 h 1682544"/>
              <a:gd name="connsiteX7" fmla="*/ 780224 w 1672598"/>
              <a:gd name="connsiteY7" fmla="*/ 381235 h 1682544"/>
              <a:gd name="connsiteX8" fmla="*/ 843724 w 1672598"/>
              <a:gd name="connsiteY8" fmla="*/ 393935 h 1682544"/>
              <a:gd name="connsiteX9" fmla="*/ 856424 w 1672598"/>
              <a:gd name="connsiteY9" fmla="*/ 457435 h 1682544"/>
              <a:gd name="connsiteX10" fmla="*/ 710374 w 1672598"/>
              <a:gd name="connsiteY10" fmla="*/ 501885 h 1682544"/>
              <a:gd name="connsiteX11" fmla="*/ 713549 w 1672598"/>
              <a:gd name="connsiteY11" fmla="*/ 584435 h 1682544"/>
              <a:gd name="connsiteX12" fmla="*/ 767524 w 1672598"/>
              <a:gd name="connsiteY12" fmla="*/ 638410 h 1682544"/>
              <a:gd name="connsiteX13" fmla="*/ 745299 w 1672598"/>
              <a:gd name="connsiteY13" fmla="*/ 733660 h 1682544"/>
              <a:gd name="connsiteX14" fmla="*/ 792924 w 1672598"/>
              <a:gd name="connsiteY14" fmla="*/ 746360 h 1682544"/>
              <a:gd name="connsiteX15" fmla="*/ 783399 w 1672598"/>
              <a:gd name="connsiteY15" fmla="*/ 847960 h 1682544"/>
              <a:gd name="connsiteX16" fmla="*/ 894524 w 1672598"/>
              <a:gd name="connsiteY16" fmla="*/ 822560 h 1682544"/>
              <a:gd name="connsiteX17" fmla="*/ 1011999 w 1672598"/>
              <a:gd name="connsiteY17" fmla="*/ 851135 h 1682544"/>
              <a:gd name="connsiteX18" fmla="*/ 1177099 w 1672598"/>
              <a:gd name="connsiteY18" fmla="*/ 860660 h 1682544"/>
              <a:gd name="connsiteX19" fmla="*/ 1310449 w 1672598"/>
              <a:gd name="connsiteY19" fmla="*/ 844785 h 1682544"/>
              <a:gd name="connsiteX20" fmla="*/ 1319974 w 1672598"/>
              <a:gd name="connsiteY20" fmla="*/ 955910 h 1682544"/>
              <a:gd name="connsiteX21" fmla="*/ 1459674 w 1672598"/>
              <a:gd name="connsiteY21" fmla="*/ 949560 h 1682544"/>
              <a:gd name="connsiteX22" fmla="*/ 1427924 w 1672598"/>
              <a:gd name="connsiteY22" fmla="*/ 1041635 h 1682544"/>
              <a:gd name="connsiteX23" fmla="*/ 1523174 w 1672598"/>
              <a:gd name="connsiteY23" fmla="*/ 1200385 h 1682544"/>
              <a:gd name="connsiteX24" fmla="*/ 1485074 w 1672598"/>
              <a:gd name="connsiteY24" fmla="*/ 1276585 h 1682544"/>
              <a:gd name="connsiteX25" fmla="*/ 1516824 w 1672598"/>
              <a:gd name="connsiteY25" fmla="*/ 1359135 h 1682544"/>
              <a:gd name="connsiteX26" fmla="*/ 1596199 w 1672598"/>
              <a:gd name="connsiteY26" fmla="*/ 1413110 h 1682544"/>
              <a:gd name="connsiteX27" fmla="*/ 1650174 w 1672598"/>
              <a:gd name="connsiteY27" fmla="*/ 1403585 h 1682544"/>
              <a:gd name="connsiteX28" fmla="*/ 1666049 w 1672598"/>
              <a:gd name="connsiteY28" fmla="*/ 1486135 h 1682544"/>
              <a:gd name="connsiteX29" fmla="*/ 1545399 w 1672598"/>
              <a:gd name="connsiteY29" fmla="*/ 1508360 h 1682544"/>
              <a:gd name="connsiteX30" fmla="*/ 1475549 w 1672598"/>
              <a:gd name="connsiteY30" fmla="*/ 1527410 h 1682544"/>
              <a:gd name="connsiteX31" fmla="*/ 1392999 w 1672598"/>
              <a:gd name="connsiteY31" fmla="*/ 1590910 h 1682544"/>
              <a:gd name="connsiteX32" fmla="*/ 1285049 w 1672598"/>
              <a:gd name="connsiteY32" fmla="*/ 1622660 h 1682544"/>
              <a:gd name="connsiteX33" fmla="*/ 1177099 w 1672598"/>
              <a:gd name="connsiteY33" fmla="*/ 1644885 h 1682544"/>
              <a:gd name="connsiteX34" fmla="*/ 1072324 w 1672598"/>
              <a:gd name="connsiteY34" fmla="*/ 1679810 h 1682544"/>
              <a:gd name="connsiteX35" fmla="*/ 945324 w 1672598"/>
              <a:gd name="connsiteY35" fmla="*/ 1673460 h 1682544"/>
              <a:gd name="connsiteX36" fmla="*/ 986599 w 1672598"/>
              <a:gd name="connsiteY36" fmla="*/ 1619485 h 1682544"/>
              <a:gd name="connsiteX37" fmla="*/ 875474 w 1672598"/>
              <a:gd name="connsiteY37" fmla="*/ 1511535 h 1682544"/>
              <a:gd name="connsiteX38" fmla="*/ 865949 w 1672598"/>
              <a:gd name="connsiteY38" fmla="*/ 1489310 h 1682544"/>
              <a:gd name="connsiteX39" fmla="*/ 802449 w 1672598"/>
              <a:gd name="connsiteY39" fmla="*/ 1365485 h 1682544"/>
              <a:gd name="connsiteX40" fmla="*/ 704024 w 1672598"/>
              <a:gd name="connsiteY40" fmla="*/ 1416285 h 1682544"/>
              <a:gd name="connsiteX41" fmla="*/ 653224 w 1672598"/>
              <a:gd name="connsiteY41" fmla="*/ 1413110 h 1682544"/>
              <a:gd name="connsiteX42" fmla="*/ 608774 w 1672598"/>
              <a:gd name="connsiteY42" fmla="*/ 1378185 h 1682544"/>
              <a:gd name="connsiteX43" fmla="*/ 554799 w 1672598"/>
              <a:gd name="connsiteY43" fmla="*/ 1419460 h 1682544"/>
              <a:gd name="connsiteX44" fmla="*/ 469074 w 1672598"/>
              <a:gd name="connsiteY44" fmla="*/ 1435335 h 1682544"/>
              <a:gd name="connsiteX45" fmla="*/ 199199 w 1672598"/>
              <a:gd name="connsiteY45" fmla="*/ 1397235 h 1682544"/>
              <a:gd name="connsiteX46" fmla="*/ 107124 w 1672598"/>
              <a:gd name="connsiteY46" fmla="*/ 1397235 h 1682544"/>
              <a:gd name="connsiteX47" fmla="*/ 97599 w 1672598"/>
              <a:gd name="connsiteY47" fmla="*/ 1305160 h 1682544"/>
              <a:gd name="connsiteX48" fmla="*/ 157924 w 1672598"/>
              <a:gd name="connsiteY48" fmla="*/ 1232135 h 1682544"/>
              <a:gd name="connsiteX49" fmla="*/ 122999 w 1672598"/>
              <a:gd name="connsiteY49" fmla="*/ 1194035 h 1682544"/>
              <a:gd name="connsiteX50" fmla="*/ 173799 w 1672598"/>
              <a:gd name="connsiteY50" fmla="*/ 1063860 h 1682544"/>
              <a:gd name="connsiteX51" fmla="*/ 2349 w 1672598"/>
              <a:gd name="connsiteY51" fmla="*/ 940035 h 1682544"/>
              <a:gd name="connsiteX52" fmla="*/ 72199 w 1672598"/>
              <a:gd name="connsiteY52" fmla="*/ 832085 h 1682544"/>
              <a:gd name="connsiteX53" fmla="*/ 43624 w 1672598"/>
              <a:gd name="connsiteY53" fmla="*/ 765410 h 1682544"/>
              <a:gd name="connsiteX54" fmla="*/ 132524 w 1672598"/>
              <a:gd name="connsiteY54" fmla="*/ 654285 h 1682544"/>
              <a:gd name="connsiteX55" fmla="*/ 113474 w 1672598"/>
              <a:gd name="connsiteY55" fmla="*/ 559035 h 1682544"/>
              <a:gd name="connsiteX56" fmla="*/ 62674 w 1672598"/>
              <a:gd name="connsiteY56" fmla="*/ 451085 h 1682544"/>
              <a:gd name="connsiteX57" fmla="*/ 56324 w 1672598"/>
              <a:gd name="connsiteY57" fmla="*/ 419335 h 1682544"/>
              <a:gd name="connsiteX58" fmla="*/ 189674 w 1672598"/>
              <a:gd name="connsiteY58" fmla="*/ 327260 h 1682544"/>
              <a:gd name="connsiteX59" fmla="*/ 240474 w 1672598"/>
              <a:gd name="connsiteY59" fmla="*/ 305035 h 1682544"/>
              <a:gd name="connsiteX60" fmla="*/ 234124 w 1672598"/>
              <a:gd name="connsiteY60" fmla="*/ 273285 h 1682544"/>
              <a:gd name="connsiteX61" fmla="*/ 284924 w 1672598"/>
              <a:gd name="connsiteY61" fmla="*/ 238360 h 1682544"/>
              <a:gd name="connsiteX62" fmla="*/ 281749 w 1672598"/>
              <a:gd name="connsiteY62" fmla="*/ 197085 h 1682544"/>
              <a:gd name="connsiteX63" fmla="*/ 189674 w 1672598"/>
              <a:gd name="connsiteY63" fmla="*/ 139935 h 1682544"/>
              <a:gd name="connsiteX64" fmla="*/ 237299 w 1672598"/>
              <a:gd name="connsiteY64" fmla="*/ 9760 h 1682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672598" h="1682544">
                <a:moveTo>
                  <a:pt x="237299" y="9760"/>
                </a:moveTo>
                <a:cubicBezTo>
                  <a:pt x="255291" y="-5057"/>
                  <a:pt x="274870" y="51564"/>
                  <a:pt x="297624" y="51035"/>
                </a:cubicBezTo>
                <a:cubicBezTo>
                  <a:pt x="320378" y="50506"/>
                  <a:pt x="340487" y="13993"/>
                  <a:pt x="373824" y="6585"/>
                </a:cubicBezTo>
                <a:cubicBezTo>
                  <a:pt x="407161" y="-823"/>
                  <a:pt x="473837" y="-3469"/>
                  <a:pt x="497649" y="6585"/>
                </a:cubicBezTo>
                <a:cubicBezTo>
                  <a:pt x="521461" y="16639"/>
                  <a:pt x="496062" y="44156"/>
                  <a:pt x="516699" y="66910"/>
                </a:cubicBezTo>
                <a:cubicBezTo>
                  <a:pt x="537336" y="89664"/>
                  <a:pt x="601366" y="115064"/>
                  <a:pt x="621474" y="143110"/>
                </a:cubicBezTo>
                <a:cubicBezTo>
                  <a:pt x="641582" y="171156"/>
                  <a:pt x="610891" y="195498"/>
                  <a:pt x="637349" y="235185"/>
                </a:cubicBezTo>
                <a:cubicBezTo>
                  <a:pt x="663807" y="274872"/>
                  <a:pt x="745828" y="354777"/>
                  <a:pt x="780224" y="381235"/>
                </a:cubicBezTo>
                <a:cubicBezTo>
                  <a:pt x="814620" y="407693"/>
                  <a:pt x="831024" y="381235"/>
                  <a:pt x="843724" y="393935"/>
                </a:cubicBezTo>
                <a:cubicBezTo>
                  <a:pt x="856424" y="406635"/>
                  <a:pt x="878649" y="439443"/>
                  <a:pt x="856424" y="457435"/>
                </a:cubicBezTo>
                <a:cubicBezTo>
                  <a:pt x="834199" y="475427"/>
                  <a:pt x="734187" y="480718"/>
                  <a:pt x="710374" y="501885"/>
                </a:cubicBezTo>
                <a:cubicBezTo>
                  <a:pt x="686562" y="523052"/>
                  <a:pt x="704024" y="561681"/>
                  <a:pt x="713549" y="584435"/>
                </a:cubicBezTo>
                <a:cubicBezTo>
                  <a:pt x="723074" y="607189"/>
                  <a:pt x="762232" y="613539"/>
                  <a:pt x="767524" y="638410"/>
                </a:cubicBezTo>
                <a:cubicBezTo>
                  <a:pt x="772816" y="663281"/>
                  <a:pt x="741066" y="715668"/>
                  <a:pt x="745299" y="733660"/>
                </a:cubicBezTo>
                <a:cubicBezTo>
                  <a:pt x="749532" y="751652"/>
                  <a:pt x="786574" y="727310"/>
                  <a:pt x="792924" y="746360"/>
                </a:cubicBezTo>
                <a:cubicBezTo>
                  <a:pt x="799274" y="765410"/>
                  <a:pt x="766466" y="835260"/>
                  <a:pt x="783399" y="847960"/>
                </a:cubicBezTo>
                <a:cubicBezTo>
                  <a:pt x="800332" y="860660"/>
                  <a:pt x="856424" y="822031"/>
                  <a:pt x="894524" y="822560"/>
                </a:cubicBezTo>
                <a:cubicBezTo>
                  <a:pt x="932624" y="823089"/>
                  <a:pt x="964903" y="844785"/>
                  <a:pt x="1011999" y="851135"/>
                </a:cubicBezTo>
                <a:cubicBezTo>
                  <a:pt x="1059095" y="857485"/>
                  <a:pt x="1127357" y="861718"/>
                  <a:pt x="1177099" y="860660"/>
                </a:cubicBezTo>
                <a:cubicBezTo>
                  <a:pt x="1226841" y="859602"/>
                  <a:pt x="1286637" y="828910"/>
                  <a:pt x="1310449" y="844785"/>
                </a:cubicBezTo>
                <a:cubicBezTo>
                  <a:pt x="1334262" y="860660"/>
                  <a:pt x="1295103" y="938448"/>
                  <a:pt x="1319974" y="955910"/>
                </a:cubicBezTo>
                <a:cubicBezTo>
                  <a:pt x="1344845" y="973372"/>
                  <a:pt x="1441682" y="935272"/>
                  <a:pt x="1459674" y="949560"/>
                </a:cubicBezTo>
                <a:cubicBezTo>
                  <a:pt x="1477666" y="963848"/>
                  <a:pt x="1417341" y="999831"/>
                  <a:pt x="1427924" y="1041635"/>
                </a:cubicBezTo>
                <a:cubicBezTo>
                  <a:pt x="1438507" y="1083439"/>
                  <a:pt x="1513649" y="1161227"/>
                  <a:pt x="1523174" y="1200385"/>
                </a:cubicBezTo>
                <a:cubicBezTo>
                  <a:pt x="1532699" y="1239543"/>
                  <a:pt x="1486132" y="1250127"/>
                  <a:pt x="1485074" y="1276585"/>
                </a:cubicBezTo>
                <a:cubicBezTo>
                  <a:pt x="1484016" y="1303043"/>
                  <a:pt x="1498303" y="1336381"/>
                  <a:pt x="1516824" y="1359135"/>
                </a:cubicBezTo>
                <a:cubicBezTo>
                  <a:pt x="1535345" y="1381889"/>
                  <a:pt x="1573974" y="1405702"/>
                  <a:pt x="1596199" y="1413110"/>
                </a:cubicBezTo>
                <a:cubicBezTo>
                  <a:pt x="1618424" y="1420518"/>
                  <a:pt x="1638532" y="1391414"/>
                  <a:pt x="1650174" y="1403585"/>
                </a:cubicBezTo>
                <a:cubicBezTo>
                  <a:pt x="1661816" y="1415756"/>
                  <a:pt x="1683511" y="1468673"/>
                  <a:pt x="1666049" y="1486135"/>
                </a:cubicBezTo>
                <a:cubicBezTo>
                  <a:pt x="1648587" y="1503597"/>
                  <a:pt x="1577149" y="1501481"/>
                  <a:pt x="1545399" y="1508360"/>
                </a:cubicBezTo>
                <a:cubicBezTo>
                  <a:pt x="1513649" y="1515239"/>
                  <a:pt x="1500949" y="1513652"/>
                  <a:pt x="1475549" y="1527410"/>
                </a:cubicBezTo>
                <a:cubicBezTo>
                  <a:pt x="1450149" y="1541168"/>
                  <a:pt x="1424749" y="1575035"/>
                  <a:pt x="1392999" y="1590910"/>
                </a:cubicBezTo>
                <a:cubicBezTo>
                  <a:pt x="1361249" y="1606785"/>
                  <a:pt x="1321032" y="1613664"/>
                  <a:pt x="1285049" y="1622660"/>
                </a:cubicBezTo>
                <a:cubicBezTo>
                  <a:pt x="1249066" y="1631656"/>
                  <a:pt x="1212553" y="1635360"/>
                  <a:pt x="1177099" y="1644885"/>
                </a:cubicBezTo>
                <a:cubicBezTo>
                  <a:pt x="1141645" y="1654410"/>
                  <a:pt x="1110953" y="1675048"/>
                  <a:pt x="1072324" y="1679810"/>
                </a:cubicBezTo>
                <a:cubicBezTo>
                  <a:pt x="1033695" y="1684572"/>
                  <a:pt x="959611" y="1683514"/>
                  <a:pt x="945324" y="1673460"/>
                </a:cubicBezTo>
                <a:cubicBezTo>
                  <a:pt x="931037" y="1663406"/>
                  <a:pt x="998241" y="1646472"/>
                  <a:pt x="986599" y="1619485"/>
                </a:cubicBezTo>
                <a:cubicBezTo>
                  <a:pt x="974957" y="1592498"/>
                  <a:pt x="895582" y="1533231"/>
                  <a:pt x="875474" y="1511535"/>
                </a:cubicBezTo>
                <a:cubicBezTo>
                  <a:pt x="855366" y="1489839"/>
                  <a:pt x="878120" y="1513652"/>
                  <a:pt x="865949" y="1489310"/>
                </a:cubicBezTo>
                <a:cubicBezTo>
                  <a:pt x="853778" y="1464968"/>
                  <a:pt x="829437" y="1377656"/>
                  <a:pt x="802449" y="1365485"/>
                </a:cubicBezTo>
                <a:cubicBezTo>
                  <a:pt x="775462" y="1353314"/>
                  <a:pt x="728895" y="1408348"/>
                  <a:pt x="704024" y="1416285"/>
                </a:cubicBezTo>
                <a:cubicBezTo>
                  <a:pt x="679153" y="1424222"/>
                  <a:pt x="669099" y="1419460"/>
                  <a:pt x="653224" y="1413110"/>
                </a:cubicBezTo>
                <a:cubicBezTo>
                  <a:pt x="637349" y="1406760"/>
                  <a:pt x="625178" y="1377127"/>
                  <a:pt x="608774" y="1378185"/>
                </a:cubicBezTo>
                <a:cubicBezTo>
                  <a:pt x="592370" y="1379243"/>
                  <a:pt x="578082" y="1409935"/>
                  <a:pt x="554799" y="1419460"/>
                </a:cubicBezTo>
                <a:cubicBezTo>
                  <a:pt x="531516" y="1428985"/>
                  <a:pt x="528341" y="1439039"/>
                  <a:pt x="469074" y="1435335"/>
                </a:cubicBezTo>
                <a:cubicBezTo>
                  <a:pt x="409807" y="1431631"/>
                  <a:pt x="259524" y="1403585"/>
                  <a:pt x="199199" y="1397235"/>
                </a:cubicBezTo>
                <a:cubicBezTo>
                  <a:pt x="138874" y="1390885"/>
                  <a:pt x="124057" y="1412581"/>
                  <a:pt x="107124" y="1397235"/>
                </a:cubicBezTo>
                <a:cubicBezTo>
                  <a:pt x="90191" y="1381889"/>
                  <a:pt x="89132" y="1332677"/>
                  <a:pt x="97599" y="1305160"/>
                </a:cubicBezTo>
                <a:cubicBezTo>
                  <a:pt x="106066" y="1277643"/>
                  <a:pt x="153691" y="1250656"/>
                  <a:pt x="157924" y="1232135"/>
                </a:cubicBezTo>
                <a:cubicBezTo>
                  <a:pt x="162157" y="1213614"/>
                  <a:pt x="120353" y="1222081"/>
                  <a:pt x="122999" y="1194035"/>
                </a:cubicBezTo>
                <a:cubicBezTo>
                  <a:pt x="125645" y="1165989"/>
                  <a:pt x="193907" y="1106193"/>
                  <a:pt x="173799" y="1063860"/>
                </a:cubicBezTo>
                <a:cubicBezTo>
                  <a:pt x="153691" y="1021527"/>
                  <a:pt x="19282" y="978664"/>
                  <a:pt x="2349" y="940035"/>
                </a:cubicBezTo>
                <a:cubicBezTo>
                  <a:pt x="-14584" y="901406"/>
                  <a:pt x="65320" y="861189"/>
                  <a:pt x="72199" y="832085"/>
                </a:cubicBezTo>
                <a:cubicBezTo>
                  <a:pt x="79078" y="802981"/>
                  <a:pt x="33570" y="795043"/>
                  <a:pt x="43624" y="765410"/>
                </a:cubicBezTo>
                <a:cubicBezTo>
                  <a:pt x="53678" y="735777"/>
                  <a:pt x="120882" y="688681"/>
                  <a:pt x="132524" y="654285"/>
                </a:cubicBezTo>
                <a:cubicBezTo>
                  <a:pt x="144166" y="619889"/>
                  <a:pt x="125116" y="592902"/>
                  <a:pt x="113474" y="559035"/>
                </a:cubicBezTo>
                <a:cubicBezTo>
                  <a:pt x="101832" y="525168"/>
                  <a:pt x="72199" y="474368"/>
                  <a:pt x="62674" y="451085"/>
                </a:cubicBezTo>
                <a:cubicBezTo>
                  <a:pt x="53149" y="427802"/>
                  <a:pt x="35157" y="439973"/>
                  <a:pt x="56324" y="419335"/>
                </a:cubicBezTo>
                <a:cubicBezTo>
                  <a:pt x="77491" y="398698"/>
                  <a:pt x="158982" y="346310"/>
                  <a:pt x="189674" y="327260"/>
                </a:cubicBezTo>
                <a:cubicBezTo>
                  <a:pt x="220366" y="308210"/>
                  <a:pt x="233066" y="314031"/>
                  <a:pt x="240474" y="305035"/>
                </a:cubicBezTo>
                <a:cubicBezTo>
                  <a:pt x="247882" y="296039"/>
                  <a:pt x="226716" y="284398"/>
                  <a:pt x="234124" y="273285"/>
                </a:cubicBezTo>
                <a:cubicBezTo>
                  <a:pt x="241532" y="262173"/>
                  <a:pt x="276987" y="251060"/>
                  <a:pt x="284924" y="238360"/>
                </a:cubicBezTo>
                <a:cubicBezTo>
                  <a:pt x="292861" y="225660"/>
                  <a:pt x="297624" y="213489"/>
                  <a:pt x="281749" y="197085"/>
                </a:cubicBezTo>
                <a:cubicBezTo>
                  <a:pt x="265874" y="180681"/>
                  <a:pt x="198670" y="166393"/>
                  <a:pt x="189674" y="139935"/>
                </a:cubicBezTo>
                <a:cubicBezTo>
                  <a:pt x="180678" y="113477"/>
                  <a:pt x="219307" y="24577"/>
                  <a:pt x="237299" y="9760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41" name="TextBox 40"/>
          <p:cNvSpPr txBox="1"/>
          <p:nvPr/>
        </p:nvSpPr>
        <p:spPr>
          <a:xfrm>
            <a:off x="7053391" y="1564808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Суми</a:t>
            </a:r>
            <a:endParaRPr lang="uk-UA" sz="1236" b="1" dirty="0"/>
          </a:p>
        </p:txBody>
      </p:sp>
      <p:sp>
        <p:nvSpPr>
          <p:cNvPr id="42" name="Полілінія 41"/>
          <p:cNvSpPr/>
          <p:nvPr/>
        </p:nvSpPr>
        <p:spPr>
          <a:xfrm>
            <a:off x="6397186" y="1944993"/>
            <a:ext cx="1674762" cy="1044278"/>
          </a:xfrm>
          <a:custGeom>
            <a:avLst/>
            <a:gdLst>
              <a:gd name="connsiteX0" fmla="*/ 14617 w 2168403"/>
              <a:gd name="connsiteY0" fmla="*/ 250350 h 1352082"/>
              <a:gd name="connsiteX1" fmla="*/ 52717 w 2168403"/>
              <a:gd name="connsiteY1" fmla="*/ 170975 h 1352082"/>
              <a:gd name="connsiteX2" fmla="*/ 227342 w 2168403"/>
              <a:gd name="connsiteY2" fmla="*/ 139225 h 1352082"/>
              <a:gd name="connsiteX3" fmla="*/ 382917 w 2168403"/>
              <a:gd name="connsiteY3" fmla="*/ 180500 h 1352082"/>
              <a:gd name="connsiteX4" fmla="*/ 589292 w 2168403"/>
              <a:gd name="connsiteY4" fmla="*/ 91600 h 1352082"/>
              <a:gd name="connsiteX5" fmla="*/ 652792 w 2168403"/>
              <a:gd name="connsiteY5" fmla="*/ 40800 h 1352082"/>
              <a:gd name="connsiteX6" fmla="*/ 887742 w 2168403"/>
              <a:gd name="connsiteY6" fmla="*/ 53500 h 1352082"/>
              <a:gd name="connsiteX7" fmla="*/ 1065542 w 2168403"/>
              <a:gd name="connsiteY7" fmla="*/ 85250 h 1352082"/>
              <a:gd name="connsiteX8" fmla="*/ 1157617 w 2168403"/>
              <a:gd name="connsiteY8" fmla="*/ 15400 h 1352082"/>
              <a:gd name="connsiteX9" fmla="*/ 1217942 w 2168403"/>
              <a:gd name="connsiteY9" fmla="*/ 59850 h 1352082"/>
              <a:gd name="connsiteX10" fmla="*/ 1306842 w 2168403"/>
              <a:gd name="connsiteY10" fmla="*/ 24925 h 1352082"/>
              <a:gd name="connsiteX11" fmla="*/ 1351292 w 2168403"/>
              <a:gd name="connsiteY11" fmla="*/ 2700 h 1352082"/>
              <a:gd name="connsiteX12" fmla="*/ 1379867 w 2168403"/>
              <a:gd name="connsiteY12" fmla="*/ 88425 h 1352082"/>
              <a:gd name="connsiteX13" fmla="*/ 1433842 w 2168403"/>
              <a:gd name="connsiteY13" fmla="*/ 170975 h 1352082"/>
              <a:gd name="connsiteX14" fmla="*/ 1516392 w 2168403"/>
              <a:gd name="connsiteY14" fmla="*/ 247175 h 1352082"/>
              <a:gd name="connsiteX15" fmla="*/ 1481467 w 2168403"/>
              <a:gd name="connsiteY15" fmla="*/ 291625 h 1352082"/>
              <a:gd name="connsiteX16" fmla="*/ 1484642 w 2168403"/>
              <a:gd name="connsiteY16" fmla="*/ 323375 h 1352082"/>
              <a:gd name="connsiteX17" fmla="*/ 1687842 w 2168403"/>
              <a:gd name="connsiteY17" fmla="*/ 310675 h 1352082"/>
              <a:gd name="connsiteX18" fmla="*/ 1706892 w 2168403"/>
              <a:gd name="connsiteY18" fmla="*/ 272575 h 1352082"/>
              <a:gd name="connsiteX19" fmla="*/ 1770392 w 2168403"/>
              <a:gd name="connsiteY19" fmla="*/ 288450 h 1352082"/>
              <a:gd name="connsiteX20" fmla="*/ 1786267 w 2168403"/>
              <a:gd name="connsiteY20" fmla="*/ 358300 h 1352082"/>
              <a:gd name="connsiteX21" fmla="*/ 1735467 w 2168403"/>
              <a:gd name="connsiteY21" fmla="*/ 412275 h 1352082"/>
              <a:gd name="connsiteX22" fmla="*/ 1764042 w 2168403"/>
              <a:gd name="connsiteY22" fmla="*/ 456725 h 1352082"/>
              <a:gd name="connsiteX23" fmla="*/ 1884692 w 2168403"/>
              <a:gd name="connsiteY23" fmla="*/ 482125 h 1352082"/>
              <a:gd name="connsiteX24" fmla="*/ 1894217 w 2168403"/>
              <a:gd name="connsiteY24" fmla="*/ 507525 h 1352082"/>
              <a:gd name="connsiteX25" fmla="*/ 1964067 w 2168403"/>
              <a:gd name="connsiteY25" fmla="*/ 513875 h 1352082"/>
              <a:gd name="connsiteX26" fmla="*/ 1973592 w 2168403"/>
              <a:gd name="connsiteY26" fmla="*/ 571025 h 1352082"/>
              <a:gd name="connsiteX27" fmla="*/ 2014867 w 2168403"/>
              <a:gd name="connsiteY27" fmla="*/ 605950 h 1352082"/>
              <a:gd name="connsiteX28" fmla="*/ 2014867 w 2168403"/>
              <a:gd name="connsiteY28" fmla="*/ 634525 h 1352082"/>
              <a:gd name="connsiteX29" fmla="*/ 2106942 w 2168403"/>
              <a:gd name="connsiteY29" fmla="*/ 637700 h 1352082"/>
              <a:gd name="connsiteX30" fmla="*/ 2132342 w 2168403"/>
              <a:gd name="connsiteY30" fmla="*/ 625000 h 1352082"/>
              <a:gd name="connsiteX31" fmla="*/ 2110117 w 2168403"/>
              <a:gd name="connsiteY31" fmla="*/ 669450 h 1352082"/>
              <a:gd name="connsiteX32" fmla="*/ 2145042 w 2168403"/>
              <a:gd name="connsiteY32" fmla="*/ 682150 h 1352082"/>
              <a:gd name="connsiteX33" fmla="*/ 2151392 w 2168403"/>
              <a:gd name="connsiteY33" fmla="*/ 717075 h 1352082"/>
              <a:gd name="connsiteX34" fmla="*/ 2164092 w 2168403"/>
              <a:gd name="connsiteY34" fmla="*/ 723425 h 1352082"/>
              <a:gd name="connsiteX35" fmla="*/ 2122817 w 2168403"/>
              <a:gd name="connsiteY35" fmla="*/ 732950 h 1352082"/>
              <a:gd name="connsiteX36" fmla="*/ 2167267 w 2168403"/>
              <a:gd name="connsiteY36" fmla="*/ 764700 h 1352082"/>
              <a:gd name="connsiteX37" fmla="*/ 2065667 w 2168403"/>
              <a:gd name="connsiteY37" fmla="*/ 793275 h 1352082"/>
              <a:gd name="connsiteX38" fmla="*/ 2081542 w 2168403"/>
              <a:gd name="connsiteY38" fmla="*/ 872650 h 1352082"/>
              <a:gd name="connsiteX39" fmla="*/ 2024392 w 2168403"/>
              <a:gd name="connsiteY39" fmla="*/ 917100 h 1352082"/>
              <a:gd name="connsiteX40" fmla="*/ 1891042 w 2168403"/>
              <a:gd name="connsiteY40" fmla="*/ 910750 h 1352082"/>
              <a:gd name="connsiteX41" fmla="*/ 1871992 w 2168403"/>
              <a:gd name="connsiteY41" fmla="*/ 936150 h 1352082"/>
              <a:gd name="connsiteX42" fmla="*/ 1894217 w 2168403"/>
              <a:gd name="connsiteY42" fmla="*/ 961550 h 1352082"/>
              <a:gd name="connsiteX43" fmla="*/ 1846592 w 2168403"/>
              <a:gd name="connsiteY43" fmla="*/ 964725 h 1352082"/>
              <a:gd name="connsiteX44" fmla="*/ 1878342 w 2168403"/>
              <a:gd name="connsiteY44" fmla="*/ 993300 h 1352082"/>
              <a:gd name="connsiteX45" fmla="*/ 1897392 w 2168403"/>
              <a:gd name="connsiteY45" fmla="*/ 1028225 h 1352082"/>
              <a:gd name="connsiteX46" fmla="*/ 1776742 w 2168403"/>
              <a:gd name="connsiteY46" fmla="*/ 1031400 h 1352082"/>
              <a:gd name="connsiteX47" fmla="*/ 1595767 w 2168403"/>
              <a:gd name="connsiteY47" fmla="*/ 1104425 h 1352082"/>
              <a:gd name="connsiteX48" fmla="*/ 1503692 w 2168403"/>
              <a:gd name="connsiteY48" fmla="*/ 1145700 h 1352082"/>
              <a:gd name="connsiteX49" fmla="*/ 1484642 w 2168403"/>
              <a:gd name="connsiteY49" fmla="*/ 1180625 h 1352082"/>
              <a:gd name="connsiteX50" fmla="*/ 1446542 w 2168403"/>
              <a:gd name="connsiteY50" fmla="*/ 1247300 h 1352082"/>
              <a:gd name="connsiteX51" fmla="*/ 1459242 w 2168403"/>
              <a:gd name="connsiteY51" fmla="*/ 1310800 h 1352082"/>
              <a:gd name="connsiteX52" fmla="*/ 1443367 w 2168403"/>
              <a:gd name="connsiteY52" fmla="*/ 1352075 h 1352082"/>
              <a:gd name="connsiteX53" fmla="*/ 1367167 w 2168403"/>
              <a:gd name="connsiteY53" fmla="*/ 1313975 h 1352082"/>
              <a:gd name="connsiteX54" fmla="*/ 1395742 w 2168403"/>
              <a:gd name="connsiteY54" fmla="*/ 1285400 h 1352082"/>
              <a:gd name="connsiteX55" fmla="*/ 1316367 w 2168403"/>
              <a:gd name="connsiteY55" fmla="*/ 1272700 h 1352082"/>
              <a:gd name="connsiteX56" fmla="*/ 1268742 w 2168403"/>
              <a:gd name="connsiteY56" fmla="*/ 1263175 h 1352082"/>
              <a:gd name="connsiteX57" fmla="*/ 1198892 w 2168403"/>
              <a:gd name="connsiteY57" fmla="*/ 1263175 h 1352082"/>
              <a:gd name="connsiteX58" fmla="*/ 1195717 w 2168403"/>
              <a:gd name="connsiteY58" fmla="*/ 1240950 h 1352082"/>
              <a:gd name="connsiteX59" fmla="*/ 1116342 w 2168403"/>
              <a:gd name="connsiteY59" fmla="*/ 1206025 h 1352082"/>
              <a:gd name="connsiteX60" fmla="*/ 1052842 w 2168403"/>
              <a:gd name="connsiteY60" fmla="*/ 1193325 h 1352082"/>
              <a:gd name="connsiteX61" fmla="*/ 1014742 w 2168403"/>
              <a:gd name="connsiteY61" fmla="*/ 1180625 h 1352082"/>
              <a:gd name="connsiteX62" fmla="*/ 960767 w 2168403"/>
              <a:gd name="connsiteY62" fmla="*/ 1180625 h 1352082"/>
              <a:gd name="connsiteX63" fmla="*/ 963942 w 2168403"/>
              <a:gd name="connsiteY63" fmla="*/ 1212375 h 1352082"/>
              <a:gd name="connsiteX64" fmla="*/ 995692 w 2168403"/>
              <a:gd name="connsiteY64" fmla="*/ 1234600 h 1352082"/>
              <a:gd name="connsiteX65" fmla="*/ 836942 w 2168403"/>
              <a:gd name="connsiteY65" fmla="*/ 1193325 h 1352082"/>
              <a:gd name="connsiteX66" fmla="*/ 840117 w 2168403"/>
              <a:gd name="connsiteY66" fmla="*/ 1171100 h 1352082"/>
              <a:gd name="connsiteX67" fmla="*/ 814717 w 2168403"/>
              <a:gd name="connsiteY67" fmla="*/ 1107600 h 1352082"/>
              <a:gd name="connsiteX68" fmla="*/ 497217 w 2168403"/>
              <a:gd name="connsiteY68" fmla="*/ 831375 h 1352082"/>
              <a:gd name="connsiteX69" fmla="*/ 490867 w 2168403"/>
              <a:gd name="connsiteY69" fmla="*/ 786925 h 1352082"/>
              <a:gd name="connsiteX70" fmla="*/ 354342 w 2168403"/>
              <a:gd name="connsiteY70" fmla="*/ 650400 h 1352082"/>
              <a:gd name="connsiteX71" fmla="*/ 243217 w 2168403"/>
              <a:gd name="connsiteY71" fmla="*/ 548800 h 1352082"/>
              <a:gd name="connsiteX72" fmla="*/ 271792 w 2168403"/>
              <a:gd name="connsiteY72" fmla="*/ 513875 h 1352082"/>
              <a:gd name="connsiteX73" fmla="*/ 14617 w 2168403"/>
              <a:gd name="connsiteY73" fmla="*/ 250350 h 1352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2168403" h="1352082">
                <a:moveTo>
                  <a:pt x="14617" y="250350"/>
                </a:moveTo>
                <a:cubicBezTo>
                  <a:pt x="-21896" y="193200"/>
                  <a:pt x="17263" y="189496"/>
                  <a:pt x="52717" y="170975"/>
                </a:cubicBezTo>
                <a:cubicBezTo>
                  <a:pt x="88171" y="152454"/>
                  <a:pt x="172309" y="137638"/>
                  <a:pt x="227342" y="139225"/>
                </a:cubicBezTo>
                <a:cubicBezTo>
                  <a:pt x="282375" y="140812"/>
                  <a:pt x="322592" y="188437"/>
                  <a:pt x="382917" y="180500"/>
                </a:cubicBezTo>
                <a:cubicBezTo>
                  <a:pt x="443242" y="172563"/>
                  <a:pt x="544313" y="114883"/>
                  <a:pt x="589292" y="91600"/>
                </a:cubicBezTo>
                <a:cubicBezTo>
                  <a:pt x="634271" y="68317"/>
                  <a:pt x="603050" y="47150"/>
                  <a:pt x="652792" y="40800"/>
                </a:cubicBezTo>
                <a:cubicBezTo>
                  <a:pt x="702534" y="34450"/>
                  <a:pt x="818950" y="46092"/>
                  <a:pt x="887742" y="53500"/>
                </a:cubicBezTo>
                <a:cubicBezTo>
                  <a:pt x="956534" y="60908"/>
                  <a:pt x="1020563" y="91600"/>
                  <a:pt x="1065542" y="85250"/>
                </a:cubicBezTo>
                <a:cubicBezTo>
                  <a:pt x="1110521" y="78900"/>
                  <a:pt x="1132217" y="19633"/>
                  <a:pt x="1157617" y="15400"/>
                </a:cubicBezTo>
                <a:cubicBezTo>
                  <a:pt x="1183017" y="11167"/>
                  <a:pt x="1193071" y="58262"/>
                  <a:pt x="1217942" y="59850"/>
                </a:cubicBezTo>
                <a:cubicBezTo>
                  <a:pt x="1242813" y="61437"/>
                  <a:pt x="1284617" y="34450"/>
                  <a:pt x="1306842" y="24925"/>
                </a:cubicBezTo>
                <a:cubicBezTo>
                  <a:pt x="1329067" y="15400"/>
                  <a:pt x="1339121" y="-7883"/>
                  <a:pt x="1351292" y="2700"/>
                </a:cubicBezTo>
                <a:cubicBezTo>
                  <a:pt x="1363463" y="13283"/>
                  <a:pt x="1366109" y="60379"/>
                  <a:pt x="1379867" y="88425"/>
                </a:cubicBezTo>
                <a:cubicBezTo>
                  <a:pt x="1393625" y="116471"/>
                  <a:pt x="1411088" y="144517"/>
                  <a:pt x="1433842" y="170975"/>
                </a:cubicBezTo>
                <a:cubicBezTo>
                  <a:pt x="1456596" y="197433"/>
                  <a:pt x="1508455" y="227067"/>
                  <a:pt x="1516392" y="247175"/>
                </a:cubicBezTo>
                <a:cubicBezTo>
                  <a:pt x="1524329" y="267283"/>
                  <a:pt x="1486759" y="278925"/>
                  <a:pt x="1481467" y="291625"/>
                </a:cubicBezTo>
                <a:cubicBezTo>
                  <a:pt x="1476175" y="304325"/>
                  <a:pt x="1450246" y="320200"/>
                  <a:pt x="1484642" y="323375"/>
                </a:cubicBezTo>
                <a:cubicBezTo>
                  <a:pt x="1519038" y="326550"/>
                  <a:pt x="1650800" y="319142"/>
                  <a:pt x="1687842" y="310675"/>
                </a:cubicBezTo>
                <a:cubicBezTo>
                  <a:pt x="1724884" y="302208"/>
                  <a:pt x="1693134" y="276279"/>
                  <a:pt x="1706892" y="272575"/>
                </a:cubicBezTo>
                <a:cubicBezTo>
                  <a:pt x="1720650" y="268871"/>
                  <a:pt x="1757163" y="274163"/>
                  <a:pt x="1770392" y="288450"/>
                </a:cubicBezTo>
                <a:cubicBezTo>
                  <a:pt x="1783621" y="302738"/>
                  <a:pt x="1792088" y="337663"/>
                  <a:pt x="1786267" y="358300"/>
                </a:cubicBezTo>
                <a:cubicBezTo>
                  <a:pt x="1780446" y="378937"/>
                  <a:pt x="1739171" y="395871"/>
                  <a:pt x="1735467" y="412275"/>
                </a:cubicBezTo>
                <a:cubicBezTo>
                  <a:pt x="1731763" y="428679"/>
                  <a:pt x="1739171" y="445083"/>
                  <a:pt x="1764042" y="456725"/>
                </a:cubicBezTo>
                <a:cubicBezTo>
                  <a:pt x="1788913" y="468367"/>
                  <a:pt x="1862996" y="473658"/>
                  <a:pt x="1884692" y="482125"/>
                </a:cubicBezTo>
                <a:cubicBezTo>
                  <a:pt x="1906388" y="490592"/>
                  <a:pt x="1880988" y="502233"/>
                  <a:pt x="1894217" y="507525"/>
                </a:cubicBezTo>
                <a:cubicBezTo>
                  <a:pt x="1907446" y="512817"/>
                  <a:pt x="1950838" y="503292"/>
                  <a:pt x="1964067" y="513875"/>
                </a:cubicBezTo>
                <a:cubicBezTo>
                  <a:pt x="1977296" y="524458"/>
                  <a:pt x="1965125" y="555679"/>
                  <a:pt x="1973592" y="571025"/>
                </a:cubicBezTo>
                <a:cubicBezTo>
                  <a:pt x="1982059" y="586371"/>
                  <a:pt x="2007988" y="595367"/>
                  <a:pt x="2014867" y="605950"/>
                </a:cubicBezTo>
                <a:cubicBezTo>
                  <a:pt x="2021746" y="616533"/>
                  <a:pt x="1999521" y="629233"/>
                  <a:pt x="2014867" y="634525"/>
                </a:cubicBezTo>
                <a:cubicBezTo>
                  <a:pt x="2030213" y="639817"/>
                  <a:pt x="2087363" y="639287"/>
                  <a:pt x="2106942" y="637700"/>
                </a:cubicBezTo>
                <a:cubicBezTo>
                  <a:pt x="2126521" y="636113"/>
                  <a:pt x="2131813" y="619708"/>
                  <a:pt x="2132342" y="625000"/>
                </a:cubicBezTo>
                <a:cubicBezTo>
                  <a:pt x="2132871" y="630292"/>
                  <a:pt x="2108000" y="659925"/>
                  <a:pt x="2110117" y="669450"/>
                </a:cubicBezTo>
                <a:cubicBezTo>
                  <a:pt x="2112234" y="678975"/>
                  <a:pt x="2138163" y="674212"/>
                  <a:pt x="2145042" y="682150"/>
                </a:cubicBezTo>
                <a:cubicBezTo>
                  <a:pt x="2151921" y="690088"/>
                  <a:pt x="2148217" y="710196"/>
                  <a:pt x="2151392" y="717075"/>
                </a:cubicBezTo>
                <a:cubicBezTo>
                  <a:pt x="2154567" y="723954"/>
                  <a:pt x="2168854" y="720779"/>
                  <a:pt x="2164092" y="723425"/>
                </a:cubicBezTo>
                <a:cubicBezTo>
                  <a:pt x="2159330" y="726071"/>
                  <a:pt x="2122288" y="726071"/>
                  <a:pt x="2122817" y="732950"/>
                </a:cubicBezTo>
                <a:cubicBezTo>
                  <a:pt x="2123346" y="739829"/>
                  <a:pt x="2176792" y="754646"/>
                  <a:pt x="2167267" y="764700"/>
                </a:cubicBezTo>
                <a:cubicBezTo>
                  <a:pt x="2157742" y="774754"/>
                  <a:pt x="2079955" y="775283"/>
                  <a:pt x="2065667" y="793275"/>
                </a:cubicBezTo>
                <a:cubicBezTo>
                  <a:pt x="2051379" y="811267"/>
                  <a:pt x="2088421" y="852013"/>
                  <a:pt x="2081542" y="872650"/>
                </a:cubicBezTo>
                <a:cubicBezTo>
                  <a:pt x="2074663" y="893287"/>
                  <a:pt x="2056142" y="910750"/>
                  <a:pt x="2024392" y="917100"/>
                </a:cubicBezTo>
                <a:cubicBezTo>
                  <a:pt x="1992642" y="923450"/>
                  <a:pt x="1916442" y="907575"/>
                  <a:pt x="1891042" y="910750"/>
                </a:cubicBezTo>
                <a:cubicBezTo>
                  <a:pt x="1865642" y="913925"/>
                  <a:pt x="1871463" y="927683"/>
                  <a:pt x="1871992" y="936150"/>
                </a:cubicBezTo>
                <a:cubicBezTo>
                  <a:pt x="1872521" y="944617"/>
                  <a:pt x="1898450" y="956788"/>
                  <a:pt x="1894217" y="961550"/>
                </a:cubicBezTo>
                <a:cubicBezTo>
                  <a:pt x="1889984" y="966312"/>
                  <a:pt x="1849238" y="959433"/>
                  <a:pt x="1846592" y="964725"/>
                </a:cubicBezTo>
                <a:cubicBezTo>
                  <a:pt x="1843946" y="970017"/>
                  <a:pt x="1869875" y="982717"/>
                  <a:pt x="1878342" y="993300"/>
                </a:cubicBezTo>
                <a:cubicBezTo>
                  <a:pt x="1886809" y="1003883"/>
                  <a:pt x="1914325" y="1021875"/>
                  <a:pt x="1897392" y="1028225"/>
                </a:cubicBezTo>
                <a:cubicBezTo>
                  <a:pt x="1880459" y="1034575"/>
                  <a:pt x="1827013" y="1018700"/>
                  <a:pt x="1776742" y="1031400"/>
                </a:cubicBezTo>
                <a:cubicBezTo>
                  <a:pt x="1726471" y="1044100"/>
                  <a:pt x="1641275" y="1085375"/>
                  <a:pt x="1595767" y="1104425"/>
                </a:cubicBezTo>
                <a:cubicBezTo>
                  <a:pt x="1550259" y="1123475"/>
                  <a:pt x="1522213" y="1133000"/>
                  <a:pt x="1503692" y="1145700"/>
                </a:cubicBezTo>
                <a:cubicBezTo>
                  <a:pt x="1485171" y="1158400"/>
                  <a:pt x="1494167" y="1163692"/>
                  <a:pt x="1484642" y="1180625"/>
                </a:cubicBezTo>
                <a:cubicBezTo>
                  <a:pt x="1475117" y="1197558"/>
                  <a:pt x="1450775" y="1225604"/>
                  <a:pt x="1446542" y="1247300"/>
                </a:cubicBezTo>
                <a:cubicBezTo>
                  <a:pt x="1442309" y="1268996"/>
                  <a:pt x="1459771" y="1293338"/>
                  <a:pt x="1459242" y="1310800"/>
                </a:cubicBezTo>
                <a:cubicBezTo>
                  <a:pt x="1458713" y="1328262"/>
                  <a:pt x="1458713" y="1351546"/>
                  <a:pt x="1443367" y="1352075"/>
                </a:cubicBezTo>
                <a:cubicBezTo>
                  <a:pt x="1428021" y="1352604"/>
                  <a:pt x="1375105" y="1325088"/>
                  <a:pt x="1367167" y="1313975"/>
                </a:cubicBezTo>
                <a:cubicBezTo>
                  <a:pt x="1359230" y="1302863"/>
                  <a:pt x="1404209" y="1292279"/>
                  <a:pt x="1395742" y="1285400"/>
                </a:cubicBezTo>
                <a:cubicBezTo>
                  <a:pt x="1387275" y="1278521"/>
                  <a:pt x="1337534" y="1276404"/>
                  <a:pt x="1316367" y="1272700"/>
                </a:cubicBezTo>
                <a:cubicBezTo>
                  <a:pt x="1295200" y="1268996"/>
                  <a:pt x="1288321" y="1264762"/>
                  <a:pt x="1268742" y="1263175"/>
                </a:cubicBezTo>
                <a:cubicBezTo>
                  <a:pt x="1249163" y="1261588"/>
                  <a:pt x="1211063" y="1266879"/>
                  <a:pt x="1198892" y="1263175"/>
                </a:cubicBezTo>
                <a:cubicBezTo>
                  <a:pt x="1186721" y="1259471"/>
                  <a:pt x="1209475" y="1250475"/>
                  <a:pt x="1195717" y="1240950"/>
                </a:cubicBezTo>
                <a:cubicBezTo>
                  <a:pt x="1181959" y="1231425"/>
                  <a:pt x="1140155" y="1213963"/>
                  <a:pt x="1116342" y="1206025"/>
                </a:cubicBezTo>
                <a:cubicBezTo>
                  <a:pt x="1092530" y="1198088"/>
                  <a:pt x="1069775" y="1197558"/>
                  <a:pt x="1052842" y="1193325"/>
                </a:cubicBezTo>
                <a:cubicBezTo>
                  <a:pt x="1035909" y="1189092"/>
                  <a:pt x="1030088" y="1182742"/>
                  <a:pt x="1014742" y="1180625"/>
                </a:cubicBezTo>
                <a:cubicBezTo>
                  <a:pt x="999396" y="1178508"/>
                  <a:pt x="969234" y="1175333"/>
                  <a:pt x="960767" y="1180625"/>
                </a:cubicBezTo>
                <a:cubicBezTo>
                  <a:pt x="952300" y="1185917"/>
                  <a:pt x="958121" y="1203379"/>
                  <a:pt x="963942" y="1212375"/>
                </a:cubicBezTo>
                <a:cubicBezTo>
                  <a:pt x="969763" y="1221371"/>
                  <a:pt x="1016859" y="1237775"/>
                  <a:pt x="995692" y="1234600"/>
                </a:cubicBezTo>
                <a:cubicBezTo>
                  <a:pt x="974525" y="1231425"/>
                  <a:pt x="862871" y="1203908"/>
                  <a:pt x="836942" y="1193325"/>
                </a:cubicBezTo>
                <a:cubicBezTo>
                  <a:pt x="811013" y="1182742"/>
                  <a:pt x="843821" y="1185387"/>
                  <a:pt x="840117" y="1171100"/>
                </a:cubicBezTo>
                <a:cubicBezTo>
                  <a:pt x="836413" y="1156813"/>
                  <a:pt x="871867" y="1164221"/>
                  <a:pt x="814717" y="1107600"/>
                </a:cubicBezTo>
                <a:cubicBezTo>
                  <a:pt x="757567" y="1050979"/>
                  <a:pt x="551192" y="884821"/>
                  <a:pt x="497217" y="831375"/>
                </a:cubicBezTo>
                <a:cubicBezTo>
                  <a:pt x="443242" y="777929"/>
                  <a:pt x="514679" y="817087"/>
                  <a:pt x="490867" y="786925"/>
                </a:cubicBezTo>
                <a:cubicBezTo>
                  <a:pt x="467055" y="756763"/>
                  <a:pt x="395617" y="690087"/>
                  <a:pt x="354342" y="650400"/>
                </a:cubicBezTo>
                <a:cubicBezTo>
                  <a:pt x="313067" y="610713"/>
                  <a:pt x="256975" y="571554"/>
                  <a:pt x="243217" y="548800"/>
                </a:cubicBezTo>
                <a:cubicBezTo>
                  <a:pt x="229459" y="526046"/>
                  <a:pt x="304071" y="562029"/>
                  <a:pt x="271792" y="513875"/>
                </a:cubicBezTo>
                <a:cubicBezTo>
                  <a:pt x="239513" y="465721"/>
                  <a:pt x="51130" y="307500"/>
                  <a:pt x="14617" y="250350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43" name="TextBox 42"/>
          <p:cNvSpPr txBox="1"/>
          <p:nvPr/>
        </p:nvSpPr>
        <p:spPr>
          <a:xfrm>
            <a:off x="6881897" y="2342767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Полтава</a:t>
            </a:r>
            <a:endParaRPr lang="uk-UA" sz="1236" b="1" dirty="0"/>
          </a:p>
        </p:txBody>
      </p:sp>
      <p:sp>
        <p:nvSpPr>
          <p:cNvPr id="44" name="Полілінія 43"/>
          <p:cNvSpPr/>
          <p:nvPr/>
        </p:nvSpPr>
        <p:spPr>
          <a:xfrm>
            <a:off x="7738734" y="1933955"/>
            <a:ext cx="1631935" cy="1151310"/>
          </a:xfrm>
          <a:custGeom>
            <a:avLst/>
            <a:gdLst>
              <a:gd name="connsiteX0" fmla="*/ 477801 w 2112953"/>
              <a:gd name="connsiteY0" fmla="*/ 149718 h 1490663"/>
              <a:gd name="connsiteX1" fmla="*/ 607976 w 2112953"/>
              <a:gd name="connsiteY1" fmla="*/ 83043 h 1490663"/>
              <a:gd name="connsiteX2" fmla="*/ 731801 w 2112953"/>
              <a:gd name="connsiteY2" fmla="*/ 76693 h 1490663"/>
              <a:gd name="connsiteX3" fmla="*/ 766726 w 2112953"/>
              <a:gd name="connsiteY3" fmla="*/ 51293 h 1490663"/>
              <a:gd name="connsiteX4" fmla="*/ 874676 w 2112953"/>
              <a:gd name="connsiteY4" fmla="*/ 114793 h 1490663"/>
              <a:gd name="connsiteX5" fmla="*/ 858801 w 2112953"/>
              <a:gd name="connsiteY5" fmla="*/ 152893 h 1490663"/>
              <a:gd name="connsiteX6" fmla="*/ 982626 w 2112953"/>
              <a:gd name="connsiteY6" fmla="*/ 143368 h 1490663"/>
              <a:gd name="connsiteX7" fmla="*/ 1106451 w 2112953"/>
              <a:gd name="connsiteY7" fmla="*/ 213218 h 1490663"/>
              <a:gd name="connsiteX8" fmla="*/ 1242976 w 2112953"/>
              <a:gd name="connsiteY8" fmla="*/ 114793 h 1490663"/>
              <a:gd name="connsiteX9" fmla="*/ 1347751 w 2112953"/>
              <a:gd name="connsiteY9" fmla="*/ 89393 h 1490663"/>
              <a:gd name="connsiteX10" fmla="*/ 1420776 w 2112953"/>
              <a:gd name="connsiteY10" fmla="*/ 70343 h 1490663"/>
              <a:gd name="connsiteX11" fmla="*/ 1509676 w 2112953"/>
              <a:gd name="connsiteY11" fmla="*/ 13193 h 1490663"/>
              <a:gd name="connsiteX12" fmla="*/ 1582701 w 2112953"/>
              <a:gd name="connsiteY12" fmla="*/ 6843 h 1490663"/>
              <a:gd name="connsiteX13" fmla="*/ 1649376 w 2112953"/>
              <a:gd name="connsiteY13" fmla="*/ 95743 h 1490663"/>
              <a:gd name="connsiteX14" fmla="*/ 1712876 w 2112953"/>
              <a:gd name="connsiteY14" fmla="*/ 95743 h 1490663"/>
              <a:gd name="connsiteX15" fmla="*/ 1722401 w 2112953"/>
              <a:gd name="connsiteY15" fmla="*/ 190993 h 1490663"/>
              <a:gd name="connsiteX16" fmla="*/ 1792251 w 2112953"/>
              <a:gd name="connsiteY16" fmla="*/ 238618 h 1490663"/>
              <a:gd name="connsiteX17" fmla="*/ 1897026 w 2112953"/>
              <a:gd name="connsiteY17" fmla="*/ 273543 h 1490663"/>
              <a:gd name="connsiteX18" fmla="*/ 1966876 w 2112953"/>
              <a:gd name="connsiteY18" fmla="*/ 330693 h 1490663"/>
              <a:gd name="connsiteX19" fmla="*/ 2017676 w 2112953"/>
              <a:gd name="connsiteY19" fmla="*/ 384668 h 1490663"/>
              <a:gd name="connsiteX20" fmla="*/ 1963701 w 2112953"/>
              <a:gd name="connsiteY20" fmla="*/ 521193 h 1490663"/>
              <a:gd name="connsiteX21" fmla="*/ 2001801 w 2112953"/>
              <a:gd name="connsiteY21" fmla="*/ 552943 h 1490663"/>
              <a:gd name="connsiteX22" fmla="*/ 1982751 w 2112953"/>
              <a:gd name="connsiteY22" fmla="*/ 625968 h 1490663"/>
              <a:gd name="connsiteX23" fmla="*/ 1979576 w 2112953"/>
              <a:gd name="connsiteY23" fmla="*/ 695818 h 1490663"/>
              <a:gd name="connsiteX24" fmla="*/ 1951001 w 2112953"/>
              <a:gd name="connsiteY24" fmla="*/ 778368 h 1490663"/>
              <a:gd name="connsiteX25" fmla="*/ 1982751 w 2112953"/>
              <a:gd name="connsiteY25" fmla="*/ 825993 h 1490663"/>
              <a:gd name="connsiteX26" fmla="*/ 2008151 w 2112953"/>
              <a:gd name="connsiteY26" fmla="*/ 899018 h 1490663"/>
              <a:gd name="connsiteX27" fmla="*/ 2074826 w 2112953"/>
              <a:gd name="connsiteY27" fmla="*/ 952993 h 1490663"/>
              <a:gd name="connsiteX28" fmla="*/ 2112926 w 2112953"/>
              <a:gd name="connsiteY28" fmla="*/ 1003793 h 1490663"/>
              <a:gd name="connsiteX29" fmla="*/ 2081176 w 2112953"/>
              <a:gd name="connsiteY29" fmla="*/ 1086343 h 1490663"/>
              <a:gd name="connsiteX30" fmla="*/ 2093876 w 2112953"/>
              <a:gd name="connsiteY30" fmla="*/ 1130793 h 1490663"/>
              <a:gd name="connsiteX31" fmla="*/ 2004976 w 2112953"/>
              <a:gd name="connsiteY31" fmla="*/ 1165718 h 1490663"/>
              <a:gd name="connsiteX32" fmla="*/ 1912901 w 2112953"/>
              <a:gd name="connsiteY32" fmla="*/ 1137143 h 1490663"/>
              <a:gd name="connsiteX33" fmla="*/ 1843051 w 2112953"/>
              <a:gd name="connsiteY33" fmla="*/ 1099043 h 1490663"/>
              <a:gd name="connsiteX34" fmla="*/ 1846226 w 2112953"/>
              <a:gd name="connsiteY34" fmla="*/ 1054593 h 1490663"/>
              <a:gd name="connsiteX35" fmla="*/ 1820826 w 2112953"/>
              <a:gd name="connsiteY35" fmla="*/ 1048243 h 1490663"/>
              <a:gd name="connsiteX36" fmla="*/ 1785901 w 2112953"/>
              <a:gd name="connsiteY36" fmla="*/ 1070468 h 1490663"/>
              <a:gd name="connsiteX37" fmla="*/ 1731926 w 2112953"/>
              <a:gd name="connsiteY37" fmla="*/ 1048243 h 1490663"/>
              <a:gd name="connsiteX38" fmla="*/ 1712876 w 2112953"/>
              <a:gd name="connsiteY38" fmla="*/ 1029193 h 1490663"/>
              <a:gd name="connsiteX39" fmla="*/ 1658901 w 2112953"/>
              <a:gd name="connsiteY39" fmla="*/ 1070468 h 1490663"/>
              <a:gd name="connsiteX40" fmla="*/ 1668426 w 2112953"/>
              <a:gd name="connsiteY40" fmla="*/ 1095868 h 1490663"/>
              <a:gd name="connsiteX41" fmla="*/ 1636676 w 2112953"/>
              <a:gd name="connsiteY41" fmla="*/ 1105393 h 1490663"/>
              <a:gd name="connsiteX42" fmla="*/ 1646201 w 2112953"/>
              <a:gd name="connsiteY42" fmla="*/ 1156193 h 1490663"/>
              <a:gd name="connsiteX43" fmla="*/ 1570001 w 2112953"/>
              <a:gd name="connsiteY43" fmla="*/ 1184768 h 1490663"/>
              <a:gd name="connsiteX44" fmla="*/ 1547776 w 2112953"/>
              <a:gd name="connsiteY44" fmla="*/ 1216518 h 1490663"/>
              <a:gd name="connsiteX45" fmla="*/ 1474751 w 2112953"/>
              <a:gd name="connsiteY45" fmla="*/ 1251443 h 1490663"/>
              <a:gd name="connsiteX46" fmla="*/ 1458876 w 2112953"/>
              <a:gd name="connsiteY46" fmla="*/ 1280018 h 1490663"/>
              <a:gd name="connsiteX47" fmla="*/ 1382676 w 2112953"/>
              <a:gd name="connsiteY47" fmla="*/ 1280018 h 1490663"/>
              <a:gd name="connsiteX48" fmla="*/ 1325526 w 2112953"/>
              <a:gd name="connsiteY48" fmla="*/ 1289543 h 1490663"/>
              <a:gd name="connsiteX49" fmla="*/ 1258851 w 2112953"/>
              <a:gd name="connsiteY49" fmla="*/ 1289543 h 1490663"/>
              <a:gd name="connsiteX50" fmla="*/ 1303301 w 2112953"/>
              <a:gd name="connsiteY50" fmla="*/ 1441943 h 1490663"/>
              <a:gd name="connsiteX51" fmla="*/ 1271551 w 2112953"/>
              <a:gd name="connsiteY51" fmla="*/ 1410193 h 1490663"/>
              <a:gd name="connsiteX52" fmla="*/ 1169951 w 2112953"/>
              <a:gd name="connsiteY52" fmla="*/ 1426068 h 1490663"/>
              <a:gd name="connsiteX53" fmla="*/ 1100101 w 2112953"/>
              <a:gd name="connsiteY53" fmla="*/ 1422893 h 1490663"/>
              <a:gd name="connsiteX54" fmla="*/ 1068351 w 2112953"/>
              <a:gd name="connsiteY54" fmla="*/ 1480043 h 1490663"/>
              <a:gd name="connsiteX55" fmla="*/ 1030251 w 2112953"/>
              <a:gd name="connsiteY55" fmla="*/ 1486393 h 1490663"/>
              <a:gd name="connsiteX56" fmla="*/ 1023901 w 2112953"/>
              <a:gd name="connsiteY56" fmla="*/ 1432418 h 1490663"/>
              <a:gd name="connsiteX57" fmla="*/ 976276 w 2112953"/>
              <a:gd name="connsiteY57" fmla="*/ 1387968 h 1490663"/>
              <a:gd name="connsiteX58" fmla="*/ 941351 w 2112953"/>
              <a:gd name="connsiteY58" fmla="*/ 1384793 h 1490663"/>
              <a:gd name="connsiteX59" fmla="*/ 941351 w 2112953"/>
              <a:gd name="connsiteY59" fmla="*/ 1343518 h 1490663"/>
              <a:gd name="connsiteX60" fmla="*/ 884201 w 2112953"/>
              <a:gd name="connsiteY60" fmla="*/ 1286368 h 1490663"/>
              <a:gd name="connsiteX61" fmla="*/ 827051 w 2112953"/>
              <a:gd name="connsiteY61" fmla="*/ 1267318 h 1490663"/>
              <a:gd name="connsiteX62" fmla="*/ 820701 w 2112953"/>
              <a:gd name="connsiteY62" fmla="*/ 1184768 h 1490663"/>
              <a:gd name="connsiteX63" fmla="*/ 722276 w 2112953"/>
              <a:gd name="connsiteY63" fmla="*/ 1191118 h 1490663"/>
              <a:gd name="connsiteX64" fmla="*/ 696876 w 2112953"/>
              <a:gd name="connsiteY64" fmla="*/ 1232393 h 1490663"/>
              <a:gd name="connsiteX65" fmla="*/ 588926 w 2112953"/>
              <a:gd name="connsiteY65" fmla="*/ 1213343 h 1490663"/>
              <a:gd name="connsiteX66" fmla="*/ 515901 w 2112953"/>
              <a:gd name="connsiteY66" fmla="*/ 1181593 h 1490663"/>
              <a:gd name="connsiteX67" fmla="*/ 442876 w 2112953"/>
              <a:gd name="connsiteY67" fmla="*/ 1181593 h 1490663"/>
              <a:gd name="connsiteX68" fmla="*/ 411126 w 2112953"/>
              <a:gd name="connsiteY68" fmla="*/ 1165718 h 1490663"/>
              <a:gd name="connsiteX69" fmla="*/ 385726 w 2112953"/>
              <a:gd name="connsiteY69" fmla="*/ 1127618 h 1490663"/>
              <a:gd name="connsiteX70" fmla="*/ 325401 w 2112953"/>
              <a:gd name="connsiteY70" fmla="*/ 1086343 h 1490663"/>
              <a:gd name="connsiteX71" fmla="*/ 182526 w 2112953"/>
              <a:gd name="connsiteY71" fmla="*/ 1057768 h 1490663"/>
              <a:gd name="connsiteX72" fmla="*/ 182526 w 2112953"/>
              <a:gd name="connsiteY72" fmla="*/ 1045068 h 1490663"/>
              <a:gd name="connsiteX73" fmla="*/ 150776 w 2112953"/>
              <a:gd name="connsiteY73" fmla="*/ 1000618 h 1490663"/>
              <a:gd name="connsiteX74" fmla="*/ 182526 w 2112953"/>
              <a:gd name="connsiteY74" fmla="*/ 991093 h 1490663"/>
              <a:gd name="connsiteX75" fmla="*/ 160301 w 2112953"/>
              <a:gd name="connsiteY75" fmla="*/ 949818 h 1490663"/>
              <a:gd name="connsiteX76" fmla="*/ 201576 w 2112953"/>
              <a:gd name="connsiteY76" fmla="*/ 949818 h 1490663"/>
              <a:gd name="connsiteX77" fmla="*/ 328576 w 2112953"/>
              <a:gd name="connsiteY77" fmla="*/ 962518 h 1490663"/>
              <a:gd name="connsiteX78" fmla="*/ 379376 w 2112953"/>
              <a:gd name="connsiteY78" fmla="*/ 873618 h 1490663"/>
              <a:gd name="connsiteX79" fmla="*/ 344451 w 2112953"/>
              <a:gd name="connsiteY79" fmla="*/ 825993 h 1490663"/>
              <a:gd name="connsiteX80" fmla="*/ 461926 w 2112953"/>
              <a:gd name="connsiteY80" fmla="*/ 803768 h 1490663"/>
              <a:gd name="connsiteX81" fmla="*/ 430176 w 2112953"/>
              <a:gd name="connsiteY81" fmla="*/ 762493 h 1490663"/>
              <a:gd name="connsiteX82" fmla="*/ 449226 w 2112953"/>
              <a:gd name="connsiteY82" fmla="*/ 743443 h 1490663"/>
              <a:gd name="connsiteX83" fmla="*/ 427001 w 2112953"/>
              <a:gd name="connsiteY83" fmla="*/ 718043 h 1490663"/>
              <a:gd name="connsiteX84" fmla="*/ 407951 w 2112953"/>
              <a:gd name="connsiteY84" fmla="*/ 702168 h 1490663"/>
              <a:gd name="connsiteX85" fmla="*/ 433351 w 2112953"/>
              <a:gd name="connsiteY85" fmla="*/ 667243 h 1490663"/>
              <a:gd name="connsiteX86" fmla="*/ 331751 w 2112953"/>
              <a:gd name="connsiteY86" fmla="*/ 654543 h 1490663"/>
              <a:gd name="connsiteX87" fmla="*/ 290476 w 2112953"/>
              <a:gd name="connsiteY87" fmla="*/ 657718 h 1490663"/>
              <a:gd name="connsiteX88" fmla="*/ 290476 w 2112953"/>
              <a:gd name="connsiteY88" fmla="*/ 632318 h 1490663"/>
              <a:gd name="connsiteX89" fmla="*/ 255551 w 2112953"/>
              <a:gd name="connsiteY89" fmla="*/ 597393 h 1490663"/>
              <a:gd name="connsiteX90" fmla="*/ 255551 w 2112953"/>
              <a:gd name="connsiteY90" fmla="*/ 533893 h 1490663"/>
              <a:gd name="connsiteX91" fmla="*/ 169826 w 2112953"/>
              <a:gd name="connsiteY91" fmla="*/ 530718 h 1490663"/>
              <a:gd name="connsiteX92" fmla="*/ 169826 w 2112953"/>
              <a:gd name="connsiteY92" fmla="*/ 508493 h 1490663"/>
              <a:gd name="connsiteX93" fmla="*/ 14251 w 2112953"/>
              <a:gd name="connsiteY93" fmla="*/ 460868 h 1490663"/>
              <a:gd name="connsiteX94" fmla="*/ 14251 w 2112953"/>
              <a:gd name="connsiteY94" fmla="*/ 435468 h 1490663"/>
              <a:gd name="connsiteX95" fmla="*/ 77751 w 2112953"/>
              <a:gd name="connsiteY95" fmla="*/ 397368 h 1490663"/>
              <a:gd name="connsiteX96" fmla="*/ 71401 w 2112953"/>
              <a:gd name="connsiteY96" fmla="*/ 289418 h 1490663"/>
              <a:gd name="connsiteX97" fmla="*/ 236501 w 2112953"/>
              <a:gd name="connsiteY97" fmla="*/ 254493 h 1490663"/>
              <a:gd name="connsiteX98" fmla="*/ 293651 w 2112953"/>
              <a:gd name="connsiteY98" fmla="*/ 175118 h 1490663"/>
              <a:gd name="connsiteX99" fmla="*/ 477801 w 2112953"/>
              <a:gd name="connsiteY99" fmla="*/ 149718 h 149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2112953" h="1490663">
                <a:moveTo>
                  <a:pt x="477801" y="149718"/>
                </a:moveTo>
                <a:cubicBezTo>
                  <a:pt x="530189" y="134372"/>
                  <a:pt x="565643" y="95214"/>
                  <a:pt x="607976" y="83043"/>
                </a:cubicBezTo>
                <a:cubicBezTo>
                  <a:pt x="650309" y="70872"/>
                  <a:pt x="705343" y="81985"/>
                  <a:pt x="731801" y="76693"/>
                </a:cubicBezTo>
                <a:cubicBezTo>
                  <a:pt x="758259" y="71401"/>
                  <a:pt x="742914" y="44943"/>
                  <a:pt x="766726" y="51293"/>
                </a:cubicBezTo>
                <a:cubicBezTo>
                  <a:pt x="790538" y="57643"/>
                  <a:pt x="859330" y="97860"/>
                  <a:pt x="874676" y="114793"/>
                </a:cubicBezTo>
                <a:cubicBezTo>
                  <a:pt x="890022" y="131726"/>
                  <a:pt x="840809" y="148130"/>
                  <a:pt x="858801" y="152893"/>
                </a:cubicBezTo>
                <a:cubicBezTo>
                  <a:pt x="876793" y="157656"/>
                  <a:pt x="941351" y="133314"/>
                  <a:pt x="982626" y="143368"/>
                </a:cubicBezTo>
                <a:cubicBezTo>
                  <a:pt x="1023901" y="153422"/>
                  <a:pt x="1063059" y="217981"/>
                  <a:pt x="1106451" y="213218"/>
                </a:cubicBezTo>
                <a:cubicBezTo>
                  <a:pt x="1149843" y="208456"/>
                  <a:pt x="1202760" y="135430"/>
                  <a:pt x="1242976" y="114793"/>
                </a:cubicBezTo>
                <a:cubicBezTo>
                  <a:pt x="1283192" y="94156"/>
                  <a:pt x="1318118" y="96801"/>
                  <a:pt x="1347751" y="89393"/>
                </a:cubicBezTo>
                <a:cubicBezTo>
                  <a:pt x="1377384" y="81985"/>
                  <a:pt x="1393789" y="83043"/>
                  <a:pt x="1420776" y="70343"/>
                </a:cubicBezTo>
                <a:cubicBezTo>
                  <a:pt x="1447763" y="57643"/>
                  <a:pt x="1482689" y="23776"/>
                  <a:pt x="1509676" y="13193"/>
                </a:cubicBezTo>
                <a:cubicBezTo>
                  <a:pt x="1536663" y="2610"/>
                  <a:pt x="1559418" y="-6915"/>
                  <a:pt x="1582701" y="6843"/>
                </a:cubicBezTo>
                <a:cubicBezTo>
                  <a:pt x="1605984" y="20601"/>
                  <a:pt x="1627680" y="80926"/>
                  <a:pt x="1649376" y="95743"/>
                </a:cubicBezTo>
                <a:cubicBezTo>
                  <a:pt x="1671072" y="110560"/>
                  <a:pt x="1700705" y="79868"/>
                  <a:pt x="1712876" y="95743"/>
                </a:cubicBezTo>
                <a:cubicBezTo>
                  <a:pt x="1725047" y="111618"/>
                  <a:pt x="1709172" y="167181"/>
                  <a:pt x="1722401" y="190993"/>
                </a:cubicBezTo>
                <a:cubicBezTo>
                  <a:pt x="1735630" y="214805"/>
                  <a:pt x="1763147" y="224860"/>
                  <a:pt x="1792251" y="238618"/>
                </a:cubicBezTo>
                <a:cubicBezTo>
                  <a:pt x="1821355" y="252376"/>
                  <a:pt x="1867922" y="258197"/>
                  <a:pt x="1897026" y="273543"/>
                </a:cubicBezTo>
                <a:cubicBezTo>
                  <a:pt x="1926130" y="288889"/>
                  <a:pt x="1946768" y="312172"/>
                  <a:pt x="1966876" y="330693"/>
                </a:cubicBezTo>
                <a:cubicBezTo>
                  <a:pt x="1986984" y="349214"/>
                  <a:pt x="2018205" y="352918"/>
                  <a:pt x="2017676" y="384668"/>
                </a:cubicBezTo>
                <a:cubicBezTo>
                  <a:pt x="2017147" y="416418"/>
                  <a:pt x="1966347" y="493147"/>
                  <a:pt x="1963701" y="521193"/>
                </a:cubicBezTo>
                <a:cubicBezTo>
                  <a:pt x="1961055" y="549239"/>
                  <a:pt x="1998626" y="535481"/>
                  <a:pt x="2001801" y="552943"/>
                </a:cubicBezTo>
                <a:cubicBezTo>
                  <a:pt x="2004976" y="570406"/>
                  <a:pt x="1986455" y="602156"/>
                  <a:pt x="1982751" y="625968"/>
                </a:cubicBezTo>
                <a:cubicBezTo>
                  <a:pt x="1979047" y="649781"/>
                  <a:pt x="1984868" y="670418"/>
                  <a:pt x="1979576" y="695818"/>
                </a:cubicBezTo>
                <a:cubicBezTo>
                  <a:pt x="1974284" y="721218"/>
                  <a:pt x="1950472" y="756672"/>
                  <a:pt x="1951001" y="778368"/>
                </a:cubicBezTo>
                <a:cubicBezTo>
                  <a:pt x="1951530" y="800064"/>
                  <a:pt x="1973226" y="805885"/>
                  <a:pt x="1982751" y="825993"/>
                </a:cubicBezTo>
                <a:cubicBezTo>
                  <a:pt x="1992276" y="846101"/>
                  <a:pt x="1992805" y="877851"/>
                  <a:pt x="2008151" y="899018"/>
                </a:cubicBezTo>
                <a:cubicBezTo>
                  <a:pt x="2023497" y="920185"/>
                  <a:pt x="2057364" y="935531"/>
                  <a:pt x="2074826" y="952993"/>
                </a:cubicBezTo>
                <a:cubicBezTo>
                  <a:pt x="2092288" y="970455"/>
                  <a:pt x="2111868" y="981568"/>
                  <a:pt x="2112926" y="1003793"/>
                </a:cubicBezTo>
                <a:cubicBezTo>
                  <a:pt x="2113984" y="1026018"/>
                  <a:pt x="2084351" y="1065176"/>
                  <a:pt x="2081176" y="1086343"/>
                </a:cubicBezTo>
                <a:cubicBezTo>
                  <a:pt x="2078001" y="1107510"/>
                  <a:pt x="2106576" y="1117564"/>
                  <a:pt x="2093876" y="1130793"/>
                </a:cubicBezTo>
                <a:cubicBezTo>
                  <a:pt x="2081176" y="1144022"/>
                  <a:pt x="2035138" y="1164660"/>
                  <a:pt x="2004976" y="1165718"/>
                </a:cubicBezTo>
                <a:cubicBezTo>
                  <a:pt x="1974814" y="1166776"/>
                  <a:pt x="1939888" y="1148255"/>
                  <a:pt x="1912901" y="1137143"/>
                </a:cubicBezTo>
                <a:cubicBezTo>
                  <a:pt x="1885914" y="1126031"/>
                  <a:pt x="1854164" y="1112801"/>
                  <a:pt x="1843051" y="1099043"/>
                </a:cubicBezTo>
                <a:cubicBezTo>
                  <a:pt x="1831938" y="1085285"/>
                  <a:pt x="1849930" y="1063060"/>
                  <a:pt x="1846226" y="1054593"/>
                </a:cubicBezTo>
                <a:cubicBezTo>
                  <a:pt x="1842522" y="1046126"/>
                  <a:pt x="1830880" y="1045597"/>
                  <a:pt x="1820826" y="1048243"/>
                </a:cubicBezTo>
                <a:cubicBezTo>
                  <a:pt x="1810772" y="1050889"/>
                  <a:pt x="1800718" y="1070468"/>
                  <a:pt x="1785901" y="1070468"/>
                </a:cubicBezTo>
                <a:cubicBezTo>
                  <a:pt x="1771084" y="1070468"/>
                  <a:pt x="1744097" y="1055122"/>
                  <a:pt x="1731926" y="1048243"/>
                </a:cubicBezTo>
                <a:cubicBezTo>
                  <a:pt x="1719755" y="1041364"/>
                  <a:pt x="1725047" y="1025489"/>
                  <a:pt x="1712876" y="1029193"/>
                </a:cubicBezTo>
                <a:cubicBezTo>
                  <a:pt x="1700705" y="1032897"/>
                  <a:pt x="1666309" y="1059356"/>
                  <a:pt x="1658901" y="1070468"/>
                </a:cubicBezTo>
                <a:cubicBezTo>
                  <a:pt x="1651493" y="1081581"/>
                  <a:pt x="1672130" y="1090047"/>
                  <a:pt x="1668426" y="1095868"/>
                </a:cubicBezTo>
                <a:cubicBezTo>
                  <a:pt x="1664722" y="1101689"/>
                  <a:pt x="1640380" y="1095339"/>
                  <a:pt x="1636676" y="1105393"/>
                </a:cubicBezTo>
                <a:cubicBezTo>
                  <a:pt x="1632972" y="1115447"/>
                  <a:pt x="1657313" y="1142964"/>
                  <a:pt x="1646201" y="1156193"/>
                </a:cubicBezTo>
                <a:cubicBezTo>
                  <a:pt x="1635089" y="1169422"/>
                  <a:pt x="1586405" y="1174714"/>
                  <a:pt x="1570001" y="1184768"/>
                </a:cubicBezTo>
                <a:cubicBezTo>
                  <a:pt x="1553597" y="1194822"/>
                  <a:pt x="1563651" y="1205406"/>
                  <a:pt x="1547776" y="1216518"/>
                </a:cubicBezTo>
                <a:cubicBezTo>
                  <a:pt x="1531901" y="1227631"/>
                  <a:pt x="1489568" y="1240860"/>
                  <a:pt x="1474751" y="1251443"/>
                </a:cubicBezTo>
                <a:cubicBezTo>
                  <a:pt x="1459934" y="1262026"/>
                  <a:pt x="1474222" y="1275255"/>
                  <a:pt x="1458876" y="1280018"/>
                </a:cubicBezTo>
                <a:cubicBezTo>
                  <a:pt x="1443530" y="1284781"/>
                  <a:pt x="1404901" y="1278431"/>
                  <a:pt x="1382676" y="1280018"/>
                </a:cubicBezTo>
                <a:cubicBezTo>
                  <a:pt x="1360451" y="1281605"/>
                  <a:pt x="1346163" y="1287956"/>
                  <a:pt x="1325526" y="1289543"/>
                </a:cubicBezTo>
                <a:cubicBezTo>
                  <a:pt x="1304889" y="1291130"/>
                  <a:pt x="1262555" y="1264143"/>
                  <a:pt x="1258851" y="1289543"/>
                </a:cubicBezTo>
                <a:cubicBezTo>
                  <a:pt x="1255147" y="1314943"/>
                  <a:pt x="1301184" y="1421835"/>
                  <a:pt x="1303301" y="1441943"/>
                </a:cubicBezTo>
                <a:cubicBezTo>
                  <a:pt x="1305418" y="1462051"/>
                  <a:pt x="1293776" y="1412839"/>
                  <a:pt x="1271551" y="1410193"/>
                </a:cubicBezTo>
                <a:cubicBezTo>
                  <a:pt x="1249326" y="1407547"/>
                  <a:pt x="1198526" y="1423951"/>
                  <a:pt x="1169951" y="1426068"/>
                </a:cubicBezTo>
                <a:cubicBezTo>
                  <a:pt x="1141376" y="1428185"/>
                  <a:pt x="1117034" y="1413897"/>
                  <a:pt x="1100101" y="1422893"/>
                </a:cubicBezTo>
                <a:cubicBezTo>
                  <a:pt x="1083168" y="1431889"/>
                  <a:pt x="1079993" y="1469460"/>
                  <a:pt x="1068351" y="1480043"/>
                </a:cubicBezTo>
                <a:cubicBezTo>
                  <a:pt x="1056709" y="1490626"/>
                  <a:pt x="1037659" y="1494331"/>
                  <a:pt x="1030251" y="1486393"/>
                </a:cubicBezTo>
                <a:cubicBezTo>
                  <a:pt x="1022843" y="1478456"/>
                  <a:pt x="1032897" y="1448822"/>
                  <a:pt x="1023901" y="1432418"/>
                </a:cubicBezTo>
                <a:cubicBezTo>
                  <a:pt x="1014905" y="1416014"/>
                  <a:pt x="990034" y="1395906"/>
                  <a:pt x="976276" y="1387968"/>
                </a:cubicBezTo>
                <a:cubicBezTo>
                  <a:pt x="962518" y="1380031"/>
                  <a:pt x="947172" y="1392201"/>
                  <a:pt x="941351" y="1384793"/>
                </a:cubicBezTo>
                <a:cubicBezTo>
                  <a:pt x="935530" y="1377385"/>
                  <a:pt x="950876" y="1359922"/>
                  <a:pt x="941351" y="1343518"/>
                </a:cubicBezTo>
                <a:cubicBezTo>
                  <a:pt x="931826" y="1327114"/>
                  <a:pt x="903251" y="1299068"/>
                  <a:pt x="884201" y="1286368"/>
                </a:cubicBezTo>
                <a:cubicBezTo>
                  <a:pt x="865151" y="1273668"/>
                  <a:pt x="837634" y="1284251"/>
                  <a:pt x="827051" y="1267318"/>
                </a:cubicBezTo>
                <a:cubicBezTo>
                  <a:pt x="816468" y="1250385"/>
                  <a:pt x="838164" y="1197468"/>
                  <a:pt x="820701" y="1184768"/>
                </a:cubicBezTo>
                <a:cubicBezTo>
                  <a:pt x="803239" y="1172068"/>
                  <a:pt x="742914" y="1183181"/>
                  <a:pt x="722276" y="1191118"/>
                </a:cubicBezTo>
                <a:cubicBezTo>
                  <a:pt x="701639" y="1199056"/>
                  <a:pt x="719101" y="1228689"/>
                  <a:pt x="696876" y="1232393"/>
                </a:cubicBezTo>
                <a:cubicBezTo>
                  <a:pt x="674651" y="1236097"/>
                  <a:pt x="619089" y="1221810"/>
                  <a:pt x="588926" y="1213343"/>
                </a:cubicBezTo>
                <a:cubicBezTo>
                  <a:pt x="558764" y="1204876"/>
                  <a:pt x="540243" y="1186885"/>
                  <a:pt x="515901" y="1181593"/>
                </a:cubicBezTo>
                <a:cubicBezTo>
                  <a:pt x="491559" y="1176301"/>
                  <a:pt x="460339" y="1184239"/>
                  <a:pt x="442876" y="1181593"/>
                </a:cubicBezTo>
                <a:cubicBezTo>
                  <a:pt x="425413" y="1178947"/>
                  <a:pt x="420651" y="1174714"/>
                  <a:pt x="411126" y="1165718"/>
                </a:cubicBezTo>
                <a:cubicBezTo>
                  <a:pt x="401601" y="1156722"/>
                  <a:pt x="400013" y="1140847"/>
                  <a:pt x="385726" y="1127618"/>
                </a:cubicBezTo>
                <a:cubicBezTo>
                  <a:pt x="371438" y="1114389"/>
                  <a:pt x="359268" y="1097985"/>
                  <a:pt x="325401" y="1086343"/>
                </a:cubicBezTo>
                <a:cubicBezTo>
                  <a:pt x="291534" y="1074701"/>
                  <a:pt x="206338" y="1064647"/>
                  <a:pt x="182526" y="1057768"/>
                </a:cubicBezTo>
                <a:cubicBezTo>
                  <a:pt x="158714" y="1050889"/>
                  <a:pt x="187818" y="1054593"/>
                  <a:pt x="182526" y="1045068"/>
                </a:cubicBezTo>
                <a:cubicBezTo>
                  <a:pt x="177234" y="1035543"/>
                  <a:pt x="150776" y="1009614"/>
                  <a:pt x="150776" y="1000618"/>
                </a:cubicBezTo>
                <a:cubicBezTo>
                  <a:pt x="150776" y="991622"/>
                  <a:pt x="180939" y="999560"/>
                  <a:pt x="182526" y="991093"/>
                </a:cubicBezTo>
                <a:cubicBezTo>
                  <a:pt x="184113" y="982626"/>
                  <a:pt x="157126" y="956697"/>
                  <a:pt x="160301" y="949818"/>
                </a:cubicBezTo>
                <a:cubicBezTo>
                  <a:pt x="163476" y="942939"/>
                  <a:pt x="173530" y="947701"/>
                  <a:pt x="201576" y="949818"/>
                </a:cubicBezTo>
                <a:cubicBezTo>
                  <a:pt x="229622" y="951935"/>
                  <a:pt x="298943" y="975218"/>
                  <a:pt x="328576" y="962518"/>
                </a:cubicBezTo>
                <a:cubicBezTo>
                  <a:pt x="358209" y="949818"/>
                  <a:pt x="376730" y="896372"/>
                  <a:pt x="379376" y="873618"/>
                </a:cubicBezTo>
                <a:cubicBezTo>
                  <a:pt x="382022" y="850864"/>
                  <a:pt x="330693" y="837635"/>
                  <a:pt x="344451" y="825993"/>
                </a:cubicBezTo>
                <a:cubicBezTo>
                  <a:pt x="358209" y="814351"/>
                  <a:pt x="447638" y="814351"/>
                  <a:pt x="461926" y="803768"/>
                </a:cubicBezTo>
                <a:cubicBezTo>
                  <a:pt x="476213" y="793185"/>
                  <a:pt x="432293" y="772547"/>
                  <a:pt x="430176" y="762493"/>
                </a:cubicBezTo>
                <a:cubicBezTo>
                  <a:pt x="428059" y="752439"/>
                  <a:pt x="449755" y="750851"/>
                  <a:pt x="449226" y="743443"/>
                </a:cubicBezTo>
                <a:cubicBezTo>
                  <a:pt x="448697" y="736035"/>
                  <a:pt x="433880" y="724922"/>
                  <a:pt x="427001" y="718043"/>
                </a:cubicBezTo>
                <a:cubicBezTo>
                  <a:pt x="420122" y="711164"/>
                  <a:pt x="406893" y="710635"/>
                  <a:pt x="407951" y="702168"/>
                </a:cubicBezTo>
                <a:cubicBezTo>
                  <a:pt x="409009" y="693701"/>
                  <a:pt x="446051" y="675180"/>
                  <a:pt x="433351" y="667243"/>
                </a:cubicBezTo>
                <a:cubicBezTo>
                  <a:pt x="420651" y="659306"/>
                  <a:pt x="355564" y="656131"/>
                  <a:pt x="331751" y="654543"/>
                </a:cubicBezTo>
                <a:cubicBezTo>
                  <a:pt x="307938" y="652955"/>
                  <a:pt x="297355" y="661422"/>
                  <a:pt x="290476" y="657718"/>
                </a:cubicBezTo>
                <a:cubicBezTo>
                  <a:pt x="283597" y="654014"/>
                  <a:pt x="296297" y="642372"/>
                  <a:pt x="290476" y="632318"/>
                </a:cubicBezTo>
                <a:cubicBezTo>
                  <a:pt x="284655" y="622264"/>
                  <a:pt x="261372" y="613797"/>
                  <a:pt x="255551" y="597393"/>
                </a:cubicBezTo>
                <a:cubicBezTo>
                  <a:pt x="249730" y="580989"/>
                  <a:pt x="269838" y="545006"/>
                  <a:pt x="255551" y="533893"/>
                </a:cubicBezTo>
                <a:cubicBezTo>
                  <a:pt x="241263" y="522781"/>
                  <a:pt x="184113" y="534951"/>
                  <a:pt x="169826" y="530718"/>
                </a:cubicBezTo>
                <a:cubicBezTo>
                  <a:pt x="155539" y="526485"/>
                  <a:pt x="195755" y="520135"/>
                  <a:pt x="169826" y="508493"/>
                </a:cubicBezTo>
                <a:cubicBezTo>
                  <a:pt x="143897" y="496851"/>
                  <a:pt x="40180" y="473039"/>
                  <a:pt x="14251" y="460868"/>
                </a:cubicBezTo>
                <a:cubicBezTo>
                  <a:pt x="-11678" y="448697"/>
                  <a:pt x="3668" y="446051"/>
                  <a:pt x="14251" y="435468"/>
                </a:cubicBezTo>
                <a:cubicBezTo>
                  <a:pt x="24834" y="424885"/>
                  <a:pt x="68226" y="421710"/>
                  <a:pt x="77751" y="397368"/>
                </a:cubicBezTo>
                <a:cubicBezTo>
                  <a:pt x="87276" y="373026"/>
                  <a:pt x="44943" y="313230"/>
                  <a:pt x="71401" y="289418"/>
                </a:cubicBezTo>
                <a:cubicBezTo>
                  <a:pt x="97859" y="265606"/>
                  <a:pt x="199459" y="273543"/>
                  <a:pt x="236501" y="254493"/>
                </a:cubicBezTo>
                <a:cubicBezTo>
                  <a:pt x="273543" y="235443"/>
                  <a:pt x="254493" y="190993"/>
                  <a:pt x="293651" y="175118"/>
                </a:cubicBezTo>
                <a:cubicBezTo>
                  <a:pt x="332809" y="159243"/>
                  <a:pt x="425413" y="165064"/>
                  <a:pt x="477801" y="149718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45" name="TextBox 44"/>
          <p:cNvSpPr txBox="1"/>
          <p:nvPr/>
        </p:nvSpPr>
        <p:spPr>
          <a:xfrm>
            <a:off x="8448795" y="2240285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Харків</a:t>
            </a:r>
            <a:endParaRPr lang="uk-UA" sz="1236" b="1" dirty="0"/>
          </a:p>
        </p:txBody>
      </p:sp>
      <p:sp>
        <p:nvSpPr>
          <p:cNvPr id="46" name="Полілінія 45"/>
          <p:cNvSpPr/>
          <p:nvPr/>
        </p:nvSpPr>
        <p:spPr>
          <a:xfrm>
            <a:off x="6934689" y="2724475"/>
            <a:ext cx="1935469" cy="1000533"/>
          </a:xfrm>
          <a:custGeom>
            <a:avLst/>
            <a:gdLst>
              <a:gd name="connsiteX0" fmla="*/ 169 w 2505954"/>
              <a:gd name="connsiteY0" fmla="*/ 1185333 h 1295443"/>
              <a:gd name="connsiteX1" fmla="*/ 60494 w 2505954"/>
              <a:gd name="connsiteY1" fmla="*/ 1147233 h 1295443"/>
              <a:gd name="connsiteX2" fmla="*/ 35094 w 2505954"/>
              <a:gd name="connsiteY2" fmla="*/ 950383 h 1295443"/>
              <a:gd name="connsiteX3" fmla="*/ 66844 w 2505954"/>
              <a:gd name="connsiteY3" fmla="*/ 893233 h 1295443"/>
              <a:gd name="connsiteX4" fmla="*/ 155744 w 2505954"/>
              <a:gd name="connsiteY4" fmla="*/ 820208 h 1295443"/>
              <a:gd name="connsiteX5" fmla="*/ 333544 w 2505954"/>
              <a:gd name="connsiteY5" fmla="*/ 737658 h 1295443"/>
              <a:gd name="connsiteX6" fmla="*/ 263694 w 2505954"/>
              <a:gd name="connsiteY6" fmla="*/ 534458 h 1295443"/>
              <a:gd name="connsiteX7" fmla="*/ 355769 w 2505954"/>
              <a:gd name="connsiteY7" fmla="*/ 483658 h 1295443"/>
              <a:gd name="connsiteX8" fmla="*/ 508169 w 2505954"/>
              <a:gd name="connsiteY8" fmla="*/ 423333 h 1295443"/>
              <a:gd name="connsiteX9" fmla="*/ 330369 w 2505954"/>
              <a:gd name="connsiteY9" fmla="*/ 347133 h 1295443"/>
              <a:gd name="connsiteX10" fmla="*/ 562144 w 2505954"/>
              <a:gd name="connsiteY10" fmla="*/ 286808 h 1295443"/>
              <a:gd name="connsiteX11" fmla="*/ 685969 w 2505954"/>
              <a:gd name="connsiteY11" fmla="*/ 261408 h 1295443"/>
              <a:gd name="connsiteX12" fmla="*/ 771694 w 2505954"/>
              <a:gd name="connsiteY12" fmla="*/ 299508 h 1295443"/>
              <a:gd name="connsiteX13" fmla="*/ 800269 w 2505954"/>
              <a:gd name="connsiteY13" fmla="*/ 299508 h 1295443"/>
              <a:gd name="connsiteX14" fmla="*/ 781219 w 2505954"/>
              <a:gd name="connsiteY14" fmla="*/ 213783 h 1295443"/>
              <a:gd name="connsiteX15" fmla="*/ 828844 w 2505954"/>
              <a:gd name="connsiteY15" fmla="*/ 140758 h 1295443"/>
              <a:gd name="connsiteX16" fmla="*/ 876469 w 2505954"/>
              <a:gd name="connsiteY16" fmla="*/ 89958 h 1295443"/>
              <a:gd name="connsiteX17" fmla="*/ 984419 w 2505954"/>
              <a:gd name="connsiteY17" fmla="*/ 51858 h 1295443"/>
              <a:gd name="connsiteX18" fmla="*/ 1086019 w 2505954"/>
              <a:gd name="connsiteY18" fmla="*/ 4233 h 1295443"/>
              <a:gd name="connsiteX19" fmla="*/ 1149519 w 2505954"/>
              <a:gd name="connsiteY19" fmla="*/ 4233 h 1295443"/>
              <a:gd name="connsiteX20" fmla="*/ 1254294 w 2505954"/>
              <a:gd name="connsiteY20" fmla="*/ 4233 h 1295443"/>
              <a:gd name="connsiteX21" fmla="*/ 1365419 w 2505954"/>
              <a:gd name="connsiteY21" fmla="*/ 4233 h 1295443"/>
              <a:gd name="connsiteX22" fmla="*/ 1441619 w 2505954"/>
              <a:gd name="connsiteY22" fmla="*/ 61383 h 1295443"/>
              <a:gd name="connsiteX23" fmla="*/ 1479719 w 2505954"/>
              <a:gd name="connsiteY23" fmla="*/ 121708 h 1295443"/>
              <a:gd name="connsiteX24" fmla="*/ 1578144 w 2505954"/>
              <a:gd name="connsiteY24" fmla="*/ 109008 h 1295443"/>
              <a:gd name="connsiteX25" fmla="*/ 1635294 w 2505954"/>
              <a:gd name="connsiteY25" fmla="*/ 153458 h 1295443"/>
              <a:gd name="connsiteX26" fmla="*/ 1768644 w 2505954"/>
              <a:gd name="connsiteY26" fmla="*/ 166158 h 1295443"/>
              <a:gd name="connsiteX27" fmla="*/ 1768644 w 2505954"/>
              <a:gd name="connsiteY27" fmla="*/ 124883 h 1295443"/>
              <a:gd name="connsiteX28" fmla="*/ 1863894 w 2505954"/>
              <a:gd name="connsiteY28" fmla="*/ 115358 h 1295443"/>
              <a:gd name="connsiteX29" fmla="*/ 1873419 w 2505954"/>
              <a:gd name="connsiteY29" fmla="*/ 178858 h 1295443"/>
              <a:gd name="connsiteX30" fmla="*/ 1892469 w 2505954"/>
              <a:gd name="connsiteY30" fmla="*/ 210608 h 1295443"/>
              <a:gd name="connsiteX31" fmla="*/ 1971844 w 2505954"/>
              <a:gd name="connsiteY31" fmla="*/ 258233 h 1295443"/>
              <a:gd name="connsiteX32" fmla="*/ 1997244 w 2505954"/>
              <a:gd name="connsiteY32" fmla="*/ 302683 h 1295443"/>
              <a:gd name="connsiteX33" fmla="*/ 1990894 w 2505954"/>
              <a:gd name="connsiteY33" fmla="*/ 340783 h 1295443"/>
              <a:gd name="connsiteX34" fmla="*/ 2019469 w 2505954"/>
              <a:gd name="connsiteY34" fmla="*/ 340783 h 1295443"/>
              <a:gd name="connsiteX35" fmla="*/ 2076619 w 2505954"/>
              <a:gd name="connsiteY35" fmla="*/ 366183 h 1295443"/>
              <a:gd name="connsiteX36" fmla="*/ 2082969 w 2505954"/>
              <a:gd name="connsiteY36" fmla="*/ 410633 h 1295443"/>
              <a:gd name="connsiteX37" fmla="*/ 2111544 w 2505954"/>
              <a:gd name="connsiteY37" fmla="*/ 416983 h 1295443"/>
              <a:gd name="connsiteX38" fmla="*/ 2146469 w 2505954"/>
              <a:gd name="connsiteY38" fmla="*/ 356658 h 1295443"/>
              <a:gd name="connsiteX39" fmla="*/ 2257594 w 2505954"/>
              <a:gd name="connsiteY39" fmla="*/ 359833 h 1295443"/>
              <a:gd name="connsiteX40" fmla="*/ 2314744 w 2505954"/>
              <a:gd name="connsiteY40" fmla="*/ 343958 h 1295443"/>
              <a:gd name="connsiteX41" fmla="*/ 2349669 w 2505954"/>
              <a:gd name="connsiteY41" fmla="*/ 382058 h 1295443"/>
              <a:gd name="connsiteX42" fmla="*/ 2409994 w 2505954"/>
              <a:gd name="connsiteY42" fmla="*/ 397933 h 1295443"/>
              <a:gd name="connsiteX43" fmla="*/ 2429044 w 2505954"/>
              <a:gd name="connsiteY43" fmla="*/ 401108 h 1295443"/>
              <a:gd name="connsiteX44" fmla="*/ 2438569 w 2505954"/>
              <a:gd name="connsiteY44" fmla="*/ 578908 h 1295443"/>
              <a:gd name="connsiteX45" fmla="*/ 2463969 w 2505954"/>
              <a:gd name="connsiteY45" fmla="*/ 601133 h 1295443"/>
              <a:gd name="connsiteX46" fmla="*/ 2505244 w 2505954"/>
              <a:gd name="connsiteY46" fmla="*/ 594783 h 1295443"/>
              <a:gd name="connsiteX47" fmla="*/ 2489369 w 2505954"/>
              <a:gd name="connsiteY47" fmla="*/ 661458 h 1295443"/>
              <a:gd name="connsiteX48" fmla="*/ 2479844 w 2505954"/>
              <a:gd name="connsiteY48" fmla="*/ 728133 h 1295443"/>
              <a:gd name="connsiteX49" fmla="*/ 2489369 w 2505954"/>
              <a:gd name="connsiteY49" fmla="*/ 763058 h 1295443"/>
              <a:gd name="connsiteX50" fmla="*/ 2397294 w 2505954"/>
              <a:gd name="connsiteY50" fmla="*/ 763058 h 1295443"/>
              <a:gd name="connsiteX51" fmla="*/ 2308394 w 2505954"/>
              <a:gd name="connsiteY51" fmla="*/ 753533 h 1295443"/>
              <a:gd name="connsiteX52" fmla="*/ 2279819 w 2505954"/>
              <a:gd name="connsiteY52" fmla="*/ 794808 h 1295443"/>
              <a:gd name="connsiteX53" fmla="*/ 2311569 w 2505954"/>
              <a:gd name="connsiteY53" fmla="*/ 864658 h 1295443"/>
              <a:gd name="connsiteX54" fmla="*/ 2327444 w 2505954"/>
              <a:gd name="connsiteY54" fmla="*/ 893233 h 1295443"/>
              <a:gd name="connsiteX55" fmla="*/ 2273469 w 2505954"/>
              <a:gd name="connsiteY55" fmla="*/ 912283 h 1295443"/>
              <a:gd name="connsiteX56" fmla="*/ 2235369 w 2505954"/>
              <a:gd name="connsiteY56" fmla="*/ 953558 h 1295443"/>
              <a:gd name="connsiteX57" fmla="*/ 2178219 w 2505954"/>
              <a:gd name="connsiteY57" fmla="*/ 947208 h 1295443"/>
              <a:gd name="connsiteX58" fmla="*/ 2130594 w 2505954"/>
              <a:gd name="connsiteY58" fmla="*/ 978958 h 1295443"/>
              <a:gd name="connsiteX59" fmla="*/ 2092494 w 2505954"/>
              <a:gd name="connsiteY59" fmla="*/ 969433 h 1295443"/>
              <a:gd name="connsiteX60" fmla="*/ 2060744 w 2505954"/>
              <a:gd name="connsiteY60" fmla="*/ 937683 h 1295443"/>
              <a:gd name="connsiteX61" fmla="*/ 2025819 w 2505954"/>
              <a:gd name="connsiteY61" fmla="*/ 969433 h 1295443"/>
              <a:gd name="connsiteX62" fmla="*/ 1990894 w 2505954"/>
              <a:gd name="connsiteY62" fmla="*/ 959908 h 1295443"/>
              <a:gd name="connsiteX63" fmla="*/ 2016294 w 2505954"/>
              <a:gd name="connsiteY63" fmla="*/ 934508 h 1295443"/>
              <a:gd name="connsiteX64" fmla="*/ 1968669 w 2505954"/>
              <a:gd name="connsiteY64" fmla="*/ 855133 h 1295443"/>
              <a:gd name="connsiteX65" fmla="*/ 1968669 w 2505954"/>
              <a:gd name="connsiteY65" fmla="*/ 836083 h 1295443"/>
              <a:gd name="connsiteX66" fmla="*/ 1990894 w 2505954"/>
              <a:gd name="connsiteY66" fmla="*/ 826558 h 1295443"/>
              <a:gd name="connsiteX67" fmla="*/ 1936919 w 2505954"/>
              <a:gd name="connsiteY67" fmla="*/ 801158 h 1295443"/>
              <a:gd name="connsiteX68" fmla="*/ 1908344 w 2505954"/>
              <a:gd name="connsiteY68" fmla="*/ 775758 h 1295443"/>
              <a:gd name="connsiteX69" fmla="*/ 1889294 w 2505954"/>
              <a:gd name="connsiteY69" fmla="*/ 772583 h 1295443"/>
              <a:gd name="connsiteX70" fmla="*/ 1806744 w 2505954"/>
              <a:gd name="connsiteY70" fmla="*/ 791633 h 1295443"/>
              <a:gd name="connsiteX71" fmla="*/ 1740069 w 2505954"/>
              <a:gd name="connsiteY71" fmla="*/ 766233 h 1295443"/>
              <a:gd name="connsiteX72" fmla="*/ 1663869 w 2505954"/>
              <a:gd name="connsiteY72" fmla="*/ 763058 h 1295443"/>
              <a:gd name="connsiteX73" fmla="*/ 1638469 w 2505954"/>
              <a:gd name="connsiteY73" fmla="*/ 797983 h 1295443"/>
              <a:gd name="connsiteX74" fmla="*/ 1578144 w 2505954"/>
              <a:gd name="connsiteY74" fmla="*/ 788458 h 1295443"/>
              <a:gd name="connsiteX75" fmla="*/ 1520994 w 2505954"/>
              <a:gd name="connsiteY75" fmla="*/ 785283 h 1295443"/>
              <a:gd name="connsiteX76" fmla="*/ 1489244 w 2505954"/>
              <a:gd name="connsiteY76" fmla="*/ 807508 h 1295443"/>
              <a:gd name="connsiteX77" fmla="*/ 1432094 w 2505954"/>
              <a:gd name="connsiteY77" fmla="*/ 756708 h 1295443"/>
              <a:gd name="connsiteX78" fmla="*/ 1393994 w 2505954"/>
              <a:gd name="connsiteY78" fmla="*/ 801158 h 1295443"/>
              <a:gd name="connsiteX79" fmla="*/ 1340019 w 2505954"/>
              <a:gd name="connsiteY79" fmla="*/ 791633 h 1295443"/>
              <a:gd name="connsiteX80" fmla="*/ 1295569 w 2505954"/>
              <a:gd name="connsiteY80" fmla="*/ 791633 h 1295443"/>
              <a:gd name="connsiteX81" fmla="*/ 1260644 w 2505954"/>
              <a:gd name="connsiteY81" fmla="*/ 829733 h 1295443"/>
              <a:gd name="connsiteX82" fmla="*/ 1203494 w 2505954"/>
              <a:gd name="connsiteY82" fmla="*/ 817033 h 1295443"/>
              <a:gd name="connsiteX83" fmla="*/ 1184444 w 2505954"/>
              <a:gd name="connsiteY83" fmla="*/ 855133 h 1295443"/>
              <a:gd name="connsiteX84" fmla="*/ 1181269 w 2505954"/>
              <a:gd name="connsiteY84" fmla="*/ 883708 h 1295443"/>
              <a:gd name="connsiteX85" fmla="*/ 1222544 w 2505954"/>
              <a:gd name="connsiteY85" fmla="*/ 915458 h 1295443"/>
              <a:gd name="connsiteX86" fmla="*/ 1174919 w 2505954"/>
              <a:gd name="connsiteY86" fmla="*/ 963083 h 1295443"/>
              <a:gd name="connsiteX87" fmla="*/ 1190794 w 2505954"/>
              <a:gd name="connsiteY87" fmla="*/ 1001183 h 1295443"/>
              <a:gd name="connsiteX88" fmla="*/ 1232069 w 2505954"/>
              <a:gd name="connsiteY88" fmla="*/ 1010708 h 1295443"/>
              <a:gd name="connsiteX89" fmla="*/ 1276519 w 2505954"/>
              <a:gd name="connsiteY89" fmla="*/ 1213908 h 1295443"/>
              <a:gd name="connsiteX90" fmla="*/ 1101894 w 2505954"/>
              <a:gd name="connsiteY90" fmla="*/ 1217083 h 1295443"/>
              <a:gd name="connsiteX91" fmla="*/ 1038394 w 2505954"/>
              <a:gd name="connsiteY91" fmla="*/ 1191683 h 1295443"/>
              <a:gd name="connsiteX92" fmla="*/ 962194 w 2505954"/>
              <a:gd name="connsiteY92" fmla="*/ 1194858 h 1295443"/>
              <a:gd name="connsiteX93" fmla="*/ 889169 w 2505954"/>
              <a:gd name="connsiteY93" fmla="*/ 1204383 h 1295443"/>
              <a:gd name="connsiteX94" fmla="*/ 851069 w 2505954"/>
              <a:gd name="connsiteY94" fmla="*/ 1226608 h 1295443"/>
              <a:gd name="connsiteX95" fmla="*/ 825669 w 2505954"/>
              <a:gd name="connsiteY95" fmla="*/ 1207558 h 1295443"/>
              <a:gd name="connsiteX96" fmla="*/ 774869 w 2505954"/>
              <a:gd name="connsiteY96" fmla="*/ 1258358 h 1295443"/>
              <a:gd name="connsiteX97" fmla="*/ 730419 w 2505954"/>
              <a:gd name="connsiteY97" fmla="*/ 1264708 h 1295443"/>
              <a:gd name="connsiteX98" fmla="*/ 641519 w 2505954"/>
              <a:gd name="connsiteY98" fmla="*/ 1245658 h 1295443"/>
              <a:gd name="connsiteX99" fmla="*/ 587544 w 2505954"/>
              <a:gd name="connsiteY99" fmla="*/ 1280583 h 1295443"/>
              <a:gd name="connsiteX100" fmla="*/ 393869 w 2505954"/>
              <a:gd name="connsiteY100" fmla="*/ 1293283 h 1295443"/>
              <a:gd name="connsiteX101" fmla="*/ 387519 w 2505954"/>
              <a:gd name="connsiteY101" fmla="*/ 1261533 h 1295443"/>
              <a:gd name="connsiteX102" fmla="*/ 336719 w 2505954"/>
              <a:gd name="connsiteY102" fmla="*/ 1258358 h 1295443"/>
              <a:gd name="connsiteX103" fmla="*/ 314494 w 2505954"/>
              <a:gd name="connsiteY103" fmla="*/ 1290108 h 1295443"/>
              <a:gd name="connsiteX104" fmla="*/ 244644 w 2505954"/>
              <a:gd name="connsiteY104" fmla="*/ 1293283 h 1295443"/>
              <a:gd name="connsiteX105" fmla="*/ 197019 w 2505954"/>
              <a:gd name="connsiteY105" fmla="*/ 1267883 h 1295443"/>
              <a:gd name="connsiteX106" fmla="*/ 120819 w 2505954"/>
              <a:gd name="connsiteY106" fmla="*/ 1245658 h 1295443"/>
              <a:gd name="connsiteX107" fmla="*/ 89069 w 2505954"/>
              <a:gd name="connsiteY107" fmla="*/ 1245658 h 1295443"/>
              <a:gd name="connsiteX108" fmla="*/ 82719 w 2505954"/>
              <a:gd name="connsiteY108" fmla="*/ 1261533 h 1295443"/>
              <a:gd name="connsiteX109" fmla="*/ 169 w 2505954"/>
              <a:gd name="connsiteY109" fmla="*/ 1185333 h 1295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2505954" h="1295443">
                <a:moveTo>
                  <a:pt x="169" y="1185333"/>
                </a:moveTo>
                <a:cubicBezTo>
                  <a:pt x="-3535" y="1166283"/>
                  <a:pt x="54673" y="1186391"/>
                  <a:pt x="60494" y="1147233"/>
                </a:cubicBezTo>
                <a:cubicBezTo>
                  <a:pt x="66315" y="1108075"/>
                  <a:pt x="34036" y="992716"/>
                  <a:pt x="35094" y="950383"/>
                </a:cubicBezTo>
                <a:cubicBezTo>
                  <a:pt x="36152" y="908050"/>
                  <a:pt x="46736" y="914929"/>
                  <a:pt x="66844" y="893233"/>
                </a:cubicBezTo>
                <a:cubicBezTo>
                  <a:pt x="86952" y="871537"/>
                  <a:pt x="111294" y="846137"/>
                  <a:pt x="155744" y="820208"/>
                </a:cubicBezTo>
                <a:cubicBezTo>
                  <a:pt x="200194" y="794279"/>
                  <a:pt x="315552" y="785283"/>
                  <a:pt x="333544" y="737658"/>
                </a:cubicBezTo>
                <a:cubicBezTo>
                  <a:pt x="351536" y="690033"/>
                  <a:pt x="259990" y="576791"/>
                  <a:pt x="263694" y="534458"/>
                </a:cubicBezTo>
                <a:cubicBezTo>
                  <a:pt x="267398" y="492125"/>
                  <a:pt x="315023" y="502179"/>
                  <a:pt x="355769" y="483658"/>
                </a:cubicBezTo>
                <a:cubicBezTo>
                  <a:pt x="396515" y="465137"/>
                  <a:pt x="512402" y="446087"/>
                  <a:pt x="508169" y="423333"/>
                </a:cubicBezTo>
                <a:cubicBezTo>
                  <a:pt x="503936" y="400579"/>
                  <a:pt x="321373" y="369887"/>
                  <a:pt x="330369" y="347133"/>
                </a:cubicBezTo>
                <a:cubicBezTo>
                  <a:pt x="339365" y="324379"/>
                  <a:pt x="502877" y="301095"/>
                  <a:pt x="562144" y="286808"/>
                </a:cubicBezTo>
                <a:cubicBezTo>
                  <a:pt x="621411" y="272521"/>
                  <a:pt x="651044" y="259291"/>
                  <a:pt x="685969" y="261408"/>
                </a:cubicBezTo>
                <a:cubicBezTo>
                  <a:pt x="720894" y="263525"/>
                  <a:pt x="752644" y="293158"/>
                  <a:pt x="771694" y="299508"/>
                </a:cubicBezTo>
                <a:cubicBezTo>
                  <a:pt x="790744" y="305858"/>
                  <a:pt x="798682" y="313795"/>
                  <a:pt x="800269" y="299508"/>
                </a:cubicBezTo>
                <a:cubicBezTo>
                  <a:pt x="801856" y="285221"/>
                  <a:pt x="776457" y="240241"/>
                  <a:pt x="781219" y="213783"/>
                </a:cubicBezTo>
                <a:cubicBezTo>
                  <a:pt x="785981" y="187325"/>
                  <a:pt x="812969" y="161395"/>
                  <a:pt x="828844" y="140758"/>
                </a:cubicBezTo>
                <a:cubicBezTo>
                  <a:pt x="844719" y="120120"/>
                  <a:pt x="850540" y="104775"/>
                  <a:pt x="876469" y="89958"/>
                </a:cubicBezTo>
                <a:cubicBezTo>
                  <a:pt x="902398" y="75141"/>
                  <a:pt x="949494" y="66145"/>
                  <a:pt x="984419" y="51858"/>
                </a:cubicBezTo>
                <a:cubicBezTo>
                  <a:pt x="1019344" y="37570"/>
                  <a:pt x="1058503" y="12170"/>
                  <a:pt x="1086019" y="4233"/>
                </a:cubicBezTo>
                <a:cubicBezTo>
                  <a:pt x="1113535" y="-3704"/>
                  <a:pt x="1149519" y="4233"/>
                  <a:pt x="1149519" y="4233"/>
                </a:cubicBezTo>
                <a:lnTo>
                  <a:pt x="1254294" y="4233"/>
                </a:lnTo>
                <a:cubicBezTo>
                  <a:pt x="1290277" y="4233"/>
                  <a:pt x="1334198" y="-5292"/>
                  <a:pt x="1365419" y="4233"/>
                </a:cubicBezTo>
                <a:cubicBezTo>
                  <a:pt x="1396640" y="13758"/>
                  <a:pt x="1422569" y="41804"/>
                  <a:pt x="1441619" y="61383"/>
                </a:cubicBezTo>
                <a:cubicBezTo>
                  <a:pt x="1460669" y="80962"/>
                  <a:pt x="1456965" y="113770"/>
                  <a:pt x="1479719" y="121708"/>
                </a:cubicBezTo>
                <a:cubicBezTo>
                  <a:pt x="1502473" y="129645"/>
                  <a:pt x="1552215" y="103716"/>
                  <a:pt x="1578144" y="109008"/>
                </a:cubicBezTo>
                <a:cubicBezTo>
                  <a:pt x="1604073" y="114300"/>
                  <a:pt x="1603544" y="143933"/>
                  <a:pt x="1635294" y="153458"/>
                </a:cubicBezTo>
                <a:cubicBezTo>
                  <a:pt x="1667044" y="162983"/>
                  <a:pt x="1746419" y="170920"/>
                  <a:pt x="1768644" y="166158"/>
                </a:cubicBezTo>
                <a:cubicBezTo>
                  <a:pt x="1790869" y="161395"/>
                  <a:pt x="1752769" y="133350"/>
                  <a:pt x="1768644" y="124883"/>
                </a:cubicBezTo>
                <a:cubicBezTo>
                  <a:pt x="1784519" y="116416"/>
                  <a:pt x="1846432" y="106362"/>
                  <a:pt x="1863894" y="115358"/>
                </a:cubicBezTo>
                <a:cubicBezTo>
                  <a:pt x="1881357" y="124354"/>
                  <a:pt x="1868657" y="162983"/>
                  <a:pt x="1873419" y="178858"/>
                </a:cubicBezTo>
                <a:cubicBezTo>
                  <a:pt x="1878181" y="194733"/>
                  <a:pt x="1876065" y="197379"/>
                  <a:pt x="1892469" y="210608"/>
                </a:cubicBezTo>
                <a:cubicBezTo>
                  <a:pt x="1908873" y="223837"/>
                  <a:pt x="1954382" y="242887"/>
                  <a:pt x="1971844" y="258233"/>
                </a:cubicBezTo>
                <a:cubicBezTo>
                  <a:pt x="1989306" y="273579"/>
                  <a:pt x="1994069" y="288925"/>
                  <a:pt x="1997244" y="302683"/>
                </a:cubicBezTo>
                <a:cubicBezTo>
                  <a:pt x="2000419" y="316441"/>
                  <a:pt x="1987190" y="334433"/>
                  <a:pt x="1990894" y="340783"/>
                </a:cubicBezTo>
                <a:cubicBezTo>
                  <a:pt x="1994598" y="347133"/>
                  <a:pt x="2005182" y="336550"/>
                  <a:pt x="2019469" y="340783"/>
                </a:cubicBezTo>
                <a:cubicBezTo>
                  <a:pt x="2033756" y="345016"/>
                  <a:pt x="2066036" y="354541"/>
                  <a:pt x="2076619" y="366183"/>
                </a:cubicBezTo>
                <a:cubicBezTo>
                  <a:pt x="2087202" y="377825"/>
                  <a:pt x="2077148" y="402166"/>
                  <a:pt x="2082969" y="410633"/>
                </a:cubicBezTo>
                <a:cubicBezTo>
                  <a:pt x="2088790" y="419100"/>
                  <a:pt x="2100961" y="425979"/>
                  <a:pt x="2111544" y="416983"/>
                </a:cubicBezTo>
                <a:cubicBezTo>
                  <a:pt x="2122127" y="407987"/>
                  <a:pt x="2122127" y="366183"/>
                  <a:pt x="2146469" y="356658"/>
                </a:cubicBezTo>
                <a:cubicBezTo>
                  <a:pt x="2170811" y="347133"/>
                  <a:pt x="2229548" y="361950"/>
                  <a:pt x="2257594" y="359833"/>
                </a:cubicBezTo>
                <a:cubicBezTo>
                  <a:pt x="2285640" y="357716"/>
                  <a:pt x="2299398" y="340254"/>
                  <a:pt x="2314744" y="343958"/>
                </a:cubicBezTo>
                <a:cubicBezTo>
                  <a:pt x="2330090" y="347662"/>
                  <a:pt x="2333794" y="373062"/>
                  <a:pt x="2349669" y="382058"/>
                </a:cubicBezTo>
                <a:cubicBezTo>
                  <a:pt x="2365544" y="391054"/>
                  <a:pt x="2396765" y="394758"/>
                  <a:pt x="2409994" y="397933"/>
                </a:cubicBezTo>
                <a:cubicBezTo>
                  <a:pt x="2423223" y="401108"/>
                  <a:pt x="2424282" y="370945"/>
                  <a:pt x="2429044" y="401108"/>
                </a:cubicBezTo>
                <a:cubicBezTo>
                  <a:pt x="2433807" y="431270"/>
                  <a:pt x="2432748" y="545571"/>
                  <a:pt x="2438569" y="578908"/>
                </a:cubicBezTo>
                <a:cubicBezTo>
                  <a:pt x="2444390" y="612245"/>
                  <a:pt x="2452856" y="598487"/>
                  <a:pt x="2463969" y="601133"/>
                </a:cubicBezTo>
                <a:cubicBezTo>
                  <a:pt x="2475082" y="603779"/>
                  <a:pt x="2501011" y="584729"/>
                  <a:pt x="2505244" y="594783"/>
                </a:cubicBezTo>
                <a:cubicBezTo>
                  <a:pt x="2509477" y="604837"/>
                  <a:pt x="2493602" y="639233"/>
                  <a:pt x="2489369" y="661458"/>
                </a:cubicBezTo>
                <a:cubicBezTo>
                  <a:pt x="2485136" y="683683"/>
                  <a:pt x="2479844" y="711200"/>
                  <a:pt x="2479844" y="728133"/>
                </a:cubicBezTo>
                <a:cubicBezTo>
                  <a:pt x="2479844" y="745066"/>
                  <a:pt x="2503127" y="757237"/>
                  <a:pt x="2489369" y="763058"/>
                </a:cubicBezTo>
                <a:cubicBezTo>
                  <a:pt x="2475611" y="768879"/>
                  <a:pt x="2427456" y="764645"/>
                  <a:pt x="2397294" y="763058"/>
                </a:cubicBezTo>
                <a:cubicBezTo>
                  <a:pt x="2367132" y="761471"/>
                  <a:pt x="2327973" y="748241"/>
                  <a:pt x="2308394" y="753533"/>
                </a:cubicBezTo>
                <a:cubicBezTo>
                  <a:pt x="2288815" y="758825"/>
                  <a:pt x="2279290" y="776287"/>
                  <a:pt x="2279819" y="794808"/>
                </a:cubicBezTo>
                <a:cubicBezTo>
                  <a:pt x="2280348" y="813329"/>
                  <a:pt x="2303632" y="848254"/>
                  <a:pt x="2311569" y="864658"/>
                </a:cubicBezTo>
                <a:cubicBezTo>
                  <a:pt x="2319507" y="881062"/>
                  <a:pt x="2333794" y="885296"/>
                  <a:pt x="2327444" y="893233"/>
                </a:cubicBezTo>
                <a:cubicBezTo>
                  <a:pt x="2321094" y="901170"/>
                  <a:pt x="2288815" y="902229"/>
                  <a:pt x="2273469" y="912283"/>
                </a:cubicBezTo>
                <a:cubicBezTo>
                  <a:pt x="2258123" y="922337"/>
                  <a:pt x="2251244" y="947737"/>
                  <a:pt x="2235369" y="953558"/>
                </a:cubicBezTo>
                <a:cubicBezTo>
                  <a:pt x="2219494" y="959379"/>
                  <a:pt x="2195681" y="942975"/>
                  <a:pt x="2178219" y="947208"/>
                </a:cubicBezTo>
                <a:cubicBezTo>
                  <a:pt x="2160757" y="951441"/>
                  <a:pt x="2144881" y="975254"/>
                  <a:pt x="2130594" y="978958"/>
                </a:cubicBezTo>
                <a:cubicBezTo>
                  <a:pt x="2116307" y="982662"/>
                  <a:pt x="2104136" y="976312"/>
                  <a:pt x="2092494" y="969433"/>
                </a:cubicBezTo>
                <a:cubicBezTo>
                  <a:pt x="2080852" y="962554"/>
                  <a:pt x="2071856" y="937683"/>
                  <a:pt x="2060744" y="937683"/>
                </a:cubicBezTo>
                <a:cubicBezTo>
                  <a:pt x="2049632" y="937683"/>
                  <a:pt x="2037461" y="965729"/>
                  <a:pt x="2025819" y="969433"/>
                </a:cubicBezTo>
                <a:cubicBezTo>
                  <a:pt x="2014177" y="973137"/>
                  <a:pt x="1992482" y="965729"/>
                  <a:pt x="1990894" y="959908"/>
                </a:cubicBezTo>
                <a:cubicBezTo>
                  <a:pt x="1989307" y="954087"/>
                  <a:pt x="2019998" y="951970"/>
                  <a:pt x="2016294" y="934508"/>
                </a:cubicBezTo>
                <a:cubicBezTo>
                  <a:pt x="2012590" y="917046"/>
                  <a:pt x="1976607" y="871537"/>
                  <a:pt x="1968669" y="855133"/>
                </a:cubicBezTo>
                <a:cubicBezTo>
                  <a:pt x="1960732" y="838729"/>
                  <a:pt x="1964965" y="840845"/>
                  <a:pt x="1968669" y="836083"/>
                </a:cubicBezTo>
                <a:cubicBezTo>
                  <a:pt x="1972373" y="831321"/>
                  <a:pt x="1996186" y="832379"/>
                  <a:pt x="1990894" y="826558"/>
                </a:cubicBezTo>
                <a:cubicBezTo>
                  <a:pt x="1985602" y="820737"/>
                  <a:pt x="1950677" y="809625"/>
                  <a:pt x="1936919" y="801158"/>
                </a:cubicBezTo>
                <a:cubicBezTo>
                  <a:pt x="1923161" y="792691"/>
                  <a:pt x="1916282" y="780520"/>
                  <a:pt x="1908344" y="775758"/>
                </a:cubicBezTo>
                <a:cubicBezTo>
                  <a:pt x="1900407" y="770995"/>
                  <a:pt x="1906227" y="769937"/>
                  <a:pt x="1889294" y="772583"/>
                </a:cubicBezTo>
                <a:cubicBezTo>
                  <a:pt x="1872361" y="775229"/>
                  <a:pt x="1831615" y="792691"/>
                  <a:pt x="1806744" y="791633"/>
                </a:cubicBezTo>
                <a:cubicBezTo>
                  <a:pt x="1781873" y="790575"/>
                  <a:pt x="1763881" y="770995"/>
                  <a:pt x="1740069" y="766233"/>
                </a:cubicBezTo>
                <a:cubicBezTo>
                  <a:pt x="1716257" y="761471"/>
                  <a:pt x="1680802" y="757766"/>
                  <a:pt x="1663869" y="763058"/>
                </a:cubicBezTo>
                <a:cubicBezTo>
                  <a:pt x="1646936" y="768350"/>
                  <a:pt x="1652756" y="793750"/>
                  <a:pt x="1638469" y="797983"/>
                </a:cubicBezTo>
                <a:cubicBezTo>
                  <a:pt x="1624182" y="802216"/>
                  <a:pt x="1597723" y="790575"/>
                  <a:pt x="1578144" y="788458"/>
                </a:cubicBezTo>
                <a:cubicBezTo>
                  <a:pt x="1558565" y="786341"/>
                  <a:pt x="1535811" y="782108"/>
                  <a:pt x="1520994" y="785283"/>
                </a:cubicBezTo>
                <a:cubicBezTo>
                  <a:pt x="1506177" y="788458"/>
                  <a:pt x="1504061" y="812271"/>
                  <a:pt x="1489244" y="807508"/>
                </a:cubicBezTo>
                <a:cubicBezTo>
                  <a:pt x="1474427" y="802745"/>
                  <a:pt x="1447969" y="757766"/>
                  <a:pt x="1432094" y="756708"/>
                </a:cubicBezTo>
                <a:cubicBezTo>
                  <a:pt x="1416219" y="755650"/>
                  <a:pt x="1409340" y="795337"/>
                  <a:pt x="1393994" y="801158"/>
                </a:cubicBezTo>
                <a:cubicBezTo>
                  <a:pt x="1378648" y="806979"/>
                  <a:pt x="1356423" y="793220"/>
                  <a:pt x="1340019" y="791633"/>
                </a:cubicBezTo>
                <a:cubicBezTo>
                  <a:pt x="1323615" y="790046"/>
                  <a:pt x="1308798" y="785283"/>
                  <a:pt x="1295569" y="791633"/>
                </a:cubicBezTo>
                <a:cubicBezTo>
                  <a:pt x="1282340" y="797983"/>
                  <a:pt x="1275990" y="825500"/>
                  <a:pt x="1260644" y="829733"/>
                </a:cubicBezTo>
                <a:cubicBezTo>
                  <a:pt x="1245298" y="833966"/>
                  <a:pt x="1216194" y="812800"/>
                  <a:pt x="1203494" y="817033"/>
                </a:cubicBezTo>
                <a:cubicBezTo>
                  <a:pt x="1190794" y="821266"/>
                  <a:pt x="1188148" y="844021"/>
                  <a:pt x="1184444" y="855133"/>
                </a:cubicBezTo>
                <a:cubicBezTo>
                  <a:pt x="1180740" y="866245"/>
                  <a:pt x="1174919" y="873654"/>
                  <a:pt x="1181269" y="883708"/>
                </a:cubicBezTo>
                <a:cubicBezTo>
                  <a:pt x="1187619" y="893762"/>
                  <a:pt x="1223602" y="902229"/>
                  <a:pt x="1222544" y="915458"/>
                </a:cubicBezTo>
                <a:cubicBezTo>
                  <a:pt x="1221486" y="928687"/>
                  <a:pt x="1180211" y="948796"/>
                  <a:pt x="1174919" y="963083"/>
                </a:cubicBezTo>
                <a:cubicBezTo>
                  <a:pt x="1169627" y="977370"/>
                  <a:pt x="1181269" y="993246"/>
                  <a:pt x="1190794" y="1001183"/>
                </a:cubicBezTo>
                <a:cubicBezTo>
                  <a:pt x="1200319" y="1009120"/>
                  <a:pt x="1217782" y="975254"/>
                  <a:pt x="1232069" y="1010708"/>
                </a:cubicBezTo>
                <a:cubicBezTo>
                  <a:pt x="1246357" y="1046162"/>
                  <a:pt x="1298215" y="1179512"/>
                  <a:pt x="1276519" y="1213908"/>
                </a:cubicBezTo>
                <a:cubicBezTo>
                  <a:pt x="1254823" y="1248304"/>
                  <a:pt x="1141581" y="1220787"/>
                  <a:pt x="1101894" y="1217083"/>
                </a:cubicBezTo>
                <a:cubicBezTo>
                  <a:pt x="1062207" y="1213379"/>
                  <a:pt x="1061677" y="1195387"/>
                  <a:pt x="1038394" y="1191683"/>
                </a:cubicBezTo>
                <a:cubicBezTo>
                  <a:pt x="1015111" y="1187979"/>
                  <a:pt x="987065" y="1192741"/>
                  <a:pt x="962194" y="1194858"/>
                </a:cubicBezTo>
                <a:cubicBezTo>
                  <a:pt x="937323" y="1196975"/>
                  <a:pt x="907690" y="1199091"/>
                  <a:pt x="889169" y="1204383"/>
                </a:cubicBezTo>
                <a:cubicBezTo>
                  <a:pt x="870648" y="1209675"/>
                  <a:pt x="861652" y="1226079"/>
                  <a:pt x="851069" y="1226608"/>
                </a:cubicBezTo>
                <a:cubicBezTo>
                  <a:pt x="840486" y="1227137"/>
                  <a:pt x="838369" y="1202266"/>
                  <a:pt x="825669" y="1207558"/>
                </a:cubicBezTo>
                <a:cubicBezTo>
                  <a:pt x="812969" y="1212850"/>
                  <a:pt x="790744" y="1248833"/>
                  <a:pt x="774869" y="1258358"/>
                </a:cubicBezTo>
                <a:cubicBezTo>
                  <a:pt x="758994" y="1267883"/>
                  <a:pt x="752644" y="1266825"/>
                  <a:pt x="730419" y="1264708"/>
                </a:cubicBezTo>
                <a:cubicBezTo>
                  <a:pt x="708194" y="1262591"/>
                  <a:pt x="665331" y="1243012"/>
                  <a:pt x="641519" y="1245658"/>
                </a:cubicBezTo>
                <a:cubicBezTo>
                  <a:pt x="617707" y="1248304"/>
                  <a:pt x="628819" y="1272646"/>
                  <a:pt x="587544" y="1280583"/>
                </a:cubicBezTo>
                <a:cubicBezTo>
                  <a:pt x="546269" y="1288520"/>
                  <a:pt x="427206" y="1296458"/>
                  <a:pt x="393869" y="1293283"/>
                </a:cubicBezTo>
                <a:cubicBezTo>
                  <a:pt x="360532" y="1290108"/>
                  <a:pt x="397044" y="1267354"/>
                  <a:pt x="387519" y="1261533"/>
                </a:cubicBezTo>
                <a:cubicBezTo>
                  <a:pt x="377994" y="1255712"/>
                  <a:pt x="348890" y="1253596"/>
                  <a:pt x="336719" y="1258358"/>
                </a:cubicBezTo>
                <a:cubicBezTo>
                  <a:pt x="324548" y="1263120"/>
                  <a:pt x="329840" y="1284287"/>
                  <a:pt x="314494" y="1290108"/>
                </a:cubicBezTo>
                <a:cubicBezTo>
                  <a:pt x="299148" y="1295929"/>
                  <a:pt x="264223" y="1296987"/>
                  <a:pt x="244644" y="1293283"/>
                </a:cubicBezTo>
                <a:cubicBezTo>
                  <a:pt x="225065" y="1289579"/>
                  <a:pt x="217657" y="1275821"/>
                  <a:pt x="197019" y="1267883"/>
                </a:cubicBezTo>
                <a:cubicBezTo>
                  <a:pt x="176382" y="1259946"/>
                  <a:pt x="138811" y="1249362"/>
                  <a:pt x="120819" y="1245658"/>
                </a:cubicBezTo>
                <a:cubicBezTo>
                  <a:pt x="102827" y="1241954"/>
                  <a:pt x="95419" y="1243012"/>
                  <a:pt x="89069" y="1245658"/>
                </a:cubicBezTo>
                <a:cubicBezTo>
                  <a:pt x="82719" y="1248304"/>
                  <a:pt x="94361" y="1264708"/>
                  <a:pt x="82719" y="1261533"/>
                </a:cubicBezTo>
                <a:cubicBezTo>
                  <a:pt x="71077" y="1258358"/>
                  <a:pt x="3873" y="1204383"/>
                  <a:pt x="169" y="1185333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47" name="TextBox 46"/>
          <p:cNvSpPr txBox="1"/>
          <p:nvPr/>
        </p:nvSpPr>
        <p:spPr>
          <a:xfrm>
            <a:off x="7268623" y="3048904"/>
            <a:ext cx="803324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Дніпро</a:t>
            </a:r>
            <a:endParaRPr lang="uk-UA" sz="1236" b="1" dirty="0"/>
          </a:p>
        </p:txBody>
      </p:sp>
      <p:sp>
        <p:nvSpPr>
          <p:cNvPr id="48" name="Полілінія 47"/>
          <p:cNvSpPr/>
          <p:nvPr/>
        </p:nvSpPr>
        <p:spPr>
          <a:xfrm>
            <a:off x="7481335" y="3331623"/>
            <a:ext cx="1612097" cy="1130875"/>
          </a:xfrm>
          <a:custGeom>
            <a:avLst/>
            <a:gdLst>
              <a:gd name="connsiteX0" fmla="*/ 1989982 w 2087268"/>
              <a:gd name="connsiteY0" fmla="*/ 944333 h 1464204"/>
              <a:gd name="connsiteX1" fmla="*/ 1878857 w 2087268"/>
              <a:gd name="connsiteY1" fmla="*/ 1026883 h 1464204"/>
              <a:gd name="connsiteX2" fmla="*/ 1770907 w 2087268"/>
              <a:gd name="connsiteY2" fmla="*/ 1007833 h 1464204"/>
              <a:gd name="connsiteX3" fmla="*/ 1666132 w 2087268"/>
              <a:gd name="connsiteY3" fmla="*/ 1036408 h 1464204"/>
              <a:gd name="connsiteX4" fmla="*/ 1555007 w 2087268"/>
              <a:gd name="connsiteY4" fmla="*/ 1125308 h 1464204"/>
              <a:gd name="connsiteX5" fmla="*/ 1405782 w 2087268"/>
              <a:gd name="connsiteY5" fmla="*/ 1122133 h 1464204"/>
              <a:gd name="connsiteX6" fmla="*/ 1272432 w 2087268"/>
              <a:gd name="connsiteY6" fmla="*/ 1125308 h 1464204"/>
              <a:gd name="connsiteX7" fmla="*/ 900957 w 2087268"/>
              <a:gd name="connsiteY7" fmla="*/ 1401533 h 1464204"/>
              <a:gd name="connsiteX8" fmla="*/ 831107 w 2087268"/>
              <a:gd name="connsiteY8" fmla="*/ 1315808 h 1464204"/>
              <a:gd name="connsiteX9" fmla="*/ 843807 w 2087268"/>
              <a:gd name="connsiteY9" fmla="*/ 1388833 h 1464204"/>
              <a:gd name="connsiteX10" fmla="*/ 764432 w 2087268"/>
              <a:gd name="connsiteY10" fmla="*/ 1461858 h 1464204"/>
              <a:gd name="connsiteX11" fmla="*/ 726332 w 2087268"/>
              <a:gd name="connsiteY11" fmla="*/ 1296758 h 1464204"/>
              <a:gd name="connsiteX12" fmla="*/ 608857 w 2087268"/>
              <a:gd name="connsiteY12" fmla="*/ 1277708 h 1464204"/>
              <a:gd name="connsiteX13" fmla="*/ 545357 w 2087268"/>
              <a:gd name="connsiteY13" fmla="*/ 1233258 h 1464204"/>
              <a:gd name="connsiteX14" fmla="*/ 497732 w 2087268"/>
              <a:gd name="connsiteY14" fmla="*/ 1220558 h 1464204"/>
              <a:gd name="connsiteX15" fmla="*/ 523132 w 2087268"/>
              <a:gd name="connsiteY15" fmla="*/ 1176108 h 1464204"/>
              <a:gd name="connsiteX16" fmla="*/ 440582 w 2087268"/>
              <a:gd name="connsiteY16" fmla="*/ 1141183 h 1464204"/>
              <a:gd name="connsiteX17" fmla="*/ 529482 w 2087268"/>
              <a:gd name="connsiteY17" fmla="*/ 1020533 h 1464204"/>
              <a:gd name="connsiteX18" fmla="*/ 485032 w 2087268"/>
              <a:gd name="connsiteY18" fmla="*/ 957033 h 1464204"/>
              <a:gd name="connsiteX19" fmla="*/ 396132 w 2087268"/>
              <a:gd name="connsiteY19" fmla="*/ 918933 h 1464204"/>
              <a:gd name="connsiteX20" fmla="*/ 332632 w 2087268"/>
              <a:gd name="connsiteY20" fmla="*/ 833208 h 1464204"/>
              <a:gd name="connsiteX21" fmla="*/ 310407 w 2087268"/>
              <a:gd name="connsiteY21" fmla="*/ 760183 h 1464204"/>
              <a:gd name="connsiteX22" fmla="*/ 291357 w 2087268"/>
              <a:gd name="connsiteY22" fmla="*/ 696683 h 1464204"/>
              <a:gd name="connsiteX23" fmla="*/ 262782 w 2087268"/>
              <a:gd name="connsiteY23" fmla="*/ 658583 h 1464204"/>
              <a:gd name="connsiteX24" fmla="*/ 196107 w 2087268"/>
              <a:gd name="connsiteY24" fmla="*/ 693508 h 1464204"/>
              <a:gd name="connsiteX25" fmla="*/ 148482 w 2087268"/>
              <a:gd name="connsiteY25" fmla="*/ 671283 h 1464204"/>
              <a:gd name="connsiteX26" fmla="*/ 88157 w 2087268"/>
              <a:gd name="connsiteY26" fmla="*/ 642708 h 1464204"/>
              <a:gd name="connsiteX27" fmla="*/ 18307 w 2087268"/>
              <a:gd name="connsiteY27" fmla="*/ 649058 h 1464204"/>
              <a:gd name="connsiteX28" fmla="*/ 2432 w 2087268"/>
              <a:gd name="connsiteY28" fmla="*/ 617308 h 1464204"/>
              <a:gd name="connsiteX29" fmla="*/ 59582 w 2087268"/>
              <a:gd name="connsiteY29" fmla="*/ 595083 h 1464204"/>
              <a:gd name="connsiteX30" fmla="*/ 180232 w 2087268"/>
              <a:gd name="connsiteY30" fmla="*/ 576033 h 1464204"/>
              <a:gd name="connsiteX31" fmla="*/ 243732 w 2087268"/>
              <a:gd name="connsiteY31" fmla="*/ 547458 h 1464204"/>
              <a:gd name="connsiteX32" fmla="*/ 310407 w 2087268"/>
              <a:gd name="connsiteY32" fmla="*/ 515708 h 1464204"/>
              <a:gd name="connsiteX33" fmla="*/ 412007 w 2087268"/>
              <a:gd name="connsiteY33" fmla="*/ 528408 h 1464204"/>
              <a:gd name="connsiteX34" fmla="*/ 500907 w 2087268"/>
              <a:gd name="connsiteY34" fmla="*/ 544283 h 1464204"/>
              <a:gd name="connsiteX35" fmla="*/ 529482 w 2087268"/>
              <a:gd name="connsiteY35" fmla="*/ 563333 h 1464204"/>
              <a:gd name="connsiteX36" fmla="*/ 605682 w 2087268"/>
              <a:gd name="connsiteY36" fmla="*/ 598258 h 1464204"/>
              <a:gd name="connsiteX37" fmla="*/ 669182 w 2087268"/>
              <a:gd name="connsiteY37" fmla="*/ 547458 h 1464204"/>
              <a:gd name="connsiteX38" fmla="*/ 767607 w 2087268"/>
              <a:gd name="connsiteY38" fmla="*/ 528408 h 1464204"/>
              <a:gd name="connsiteX39" fmla="*/ 834282 w 2087268"/>
              <a:gd name="connsiteY39" fmla="*/ 518883 h 1464204"/>
              <a:gd name="connsiteX40" fmla="*/ 831107 w 2087268"/>
              <a:gd name="connsiteY40" fmla="*/ 452208 h 1464204"/>
              <a:gd name="connsiteX41" fmla="*/ 777132 w 2087268"/>
              <a:gd name="connsiteY41" fmla="*/ 395058 h 1464204"/>
              <a:gd name="connsiteX42" fmla="*/ 726332 w 2087268"/>
              <a:gd name="connsiteY42" fmla="*/ 299808 h 1464204"/>
              <a:gd name="connsiteX43" fmla="*/ 675532 w 2087268"/>
              <a:gd name="connsiteY43" fmla="*/ 290283 h 1464204"/>
              <a:gd name="connsiteX44" fmla="*/ 656482 w 2087268"/>
              <a:gd name="connsiteY44" fmla="*/ 376008 h 1464204"/>
              <a:gd name="connsiteX45" fmla="*/ 621557 w 2087268"/>
              <a:gd name="connsiteY45" fmla="*/ 433158 h 1464204"/>
              <a:gd name="connsiteX46" fmla="*/ 573932 w 2087268"/>
              <a:gd name="connsiteY46" fmla="*/ 458558 h 1464204"/>
              <a:gd name="connsiteX47" fmla="*/ 558057 w 2087268"/>
              <a:gd name="connsiteY47" fmla="*/ 353783 h 1464204"/>
              <a:gd name="connsiteX48" fmla="*/ 542182 w 2087268"/>
              <a:gd name="connsiteY48" fmla="*/ 252183 h 1464204"/>
              <a:gd name="connsiteX49" fmla="*/ 481857 w 2087268"/>
              <a:gd name="connsiteY49" fmla="*/ 220433 h 1464204"/>
              <a:gd name="connsiteX50" fmla="*/ 539007 w 2087268"/>
              <a:gd name="connsiteY50" fmla="*/ 166458 h 1464204"/>
              <a:gd name="connsiteX51" fmla="*/ 481857 w 2087268"/>
              <a:gd name="connsiteY51" fmla="*/ 122008 h 1464204"/>
              <a:gd name="connsiteX52" fmla="*/ 494557 w 2087268"/>
              <a:gd name="connsiteY52" fmla="*/ 90258 h 1464204"/>
              <a:gd name="connsiteX53" fmla="*/ 494557 w 2087268"/>
              <a:gd name="connsiteY53" fmla="*/ 52158 h 1464204"/>
              <a:gd name="connsiteX54" fmla="*/ 554882 w 2087268"/>
              <a:gd name="connsiteY54" fmla="*/ 74383 h 1464204"/>
              <a:gd name="connsiteX55" fmla="*/ 621557 w 2087268"/>
              <a:gd name="connsiteY55" fmla="*/ 33108 h 1464204"/>
              <a:gd name="connsiteX56" fmla="*/ 716807 w 2087268"/>
              <a:gd name="connsiteY56" fmla="*/ 29933 h 1464204"/>
              <a:gd name="connsiteX57" fmla="*/ 761257 w 2087268"/>
              <a:gd name="connsiteY57" fmla="*/ 10883 h 1464204"/>
              <a:gd name="connsiteX58" fmla="*/ 808882 w 2087268"/>
              <a:gd name="connsiteY58" fmla="*/ 39458 h 1464204"/>
              <a:gd name="connsiteX59" fmla="*/ 878732 w 2087268"/>
              <a:gd name="connsiteY59" fmla="*/ 17233 h 1464204"/>
              <a:gd name="connsiteX60" fmla="*/ 942232 w 2087268"/>
              <a:gd name="connsiteY60" fmla="*/ 36283 h 1464204"/>
              <a:gd name="connsiteX61" fmla="*/ 989857 w 2087268"/>
              <a:gd name="connsiteY61" fmla="*/ 1358 h 1464204"/>
              <a:gd name="connsiteX62" fmla="*/ 1078757 w 2087268"/>
              <a:gd name="connsiteY62" fmla="*/ 10883 h 1464204"/>
              <a:gd name="connsiteX63" fmla="*/ 1126382 w 2087268"/>
              <a:gd name="connsiteY63" fmla="*/ 45808 h 1464204"/>
              <a:gd name="connsiteX64" fmla="*/ 1202582 w 2087268"/>
              <a:gd name="connsiteY64" fmla="*/ 10883 h 1464204"/>
              <a:gd name="connsiteX65" fmla="*/ 1234332 w 2087268"/>
              <a:gd name="connsiteY65" fmla="*/ 42633 h 1464204"/>
              <a:gd name="connsiteX66" fmla="*/ 1288307 w 2087268"/>
              <a:gd name="connsiteY66" fmla="*/ 52158 h 1464204"/>
              <a:gd name="connsiteX67" fmla="*/ 1266082 w 2087268"/>
              <a:gd name="connsiteY67" fmla="*/ 83908 h 1464204"/>
              <a:gd name="connsiteX68" fmla="*/ 1323232 w 2087268"/>
              <a:gd name="connsiteY68" fmla="*/ 156933 h 1464204"/>
              <a:gd name="connsiteX69" fmla="*/ 1281957 w 2087268"/>
              <a:gd name="connsiteY69" fmla="*/ 185508 h 1464204"/>
              <a:gd name="connsiteX70" fmla="*/ 1326407 w 2087268"/>
              <a:gd name="connsiteY70" fmla="*/ 207733 h 1464204"/>
              <a:gd name="connsiteX71" fmla="*/ 1361332 w 2087268"/>
              <a:gd name="connsiteY71" fmla="*/ 175983 h 1464204"/>
              <a:gd name="connsiteX72" fmla="*/ 1412132 w 2087268"/>
              <a:gd name="connsiteY72" fmla="*/ 220433 h 1464204"/>
              <a:gd name="connsiteX73" fmla="*/ 1488332 w 2087268"/>
              <a:gd name="connsiteY73" fmla="*/ 191858 h 1464204"/>
              <a:gd name="connsiteX74" fmla="*/ 1548657 w 2087268"/>
              <a:gd name="connsiteY74" fmla="*/ 198208 h 1464204"/>
              <a:gd name="connsiteX75" fmla="*/ 1596282 w 2087268"/>
              <a:gd name="connsiteY75" fmla="*/ 156933 h 1464204"/>
              <a:gd name="connsiteX76" fmla="*/ 1637557 w 2087268"/>
              <a:gd name="connsiteY76" fmla="*/ 201383 h 1464204"/>
              <a:gd name="connsiteX77" fmla="*/ 1650257 w 2087268"/>
              <a:gd name="connsiteY77" fmla="*/ 220433 h 1464204"/>
              <a:gd name="connsiteX78" fmla="*/ 1691532 w 2087268"/>
              <a:gd name="connsiteY78" fmla="*/ 226783 h 1464204"/>
              <a:gd name="connsiteX79" fmla="*/ 1694707 w 2087268"/>
              <a:gd name="connsiteY79" fmla="*/ 264883 h 1464204"/>
              <a:gd name="connsiteX80" fmla="*/ 1723282 w 2087268"/>
              <a:gd name="connsiteY80" fmla="*/ 277583 h 1464204"/>
              <a:gd name="connsiteX81" fmla="*/ 1723282 w 2087268"/>
              <a:gd name="connsiteY81" fmla="*/ 318858 h 1464204"/>
              <a:gd name="connsiteX82" fmla="*/ 1789957 w 2087268"/>
              <a:gd name="connsiteY82" fmla="*/ 353783 h 1464204"/>
              <a:gd name="connsiteX83" fmla="*/ 1856632 w 2087268"/>
              <a:gd name="connsiteY83" fmla="*/ 398233 h 1464204"/>
              <a:gd name="connsiteX84" fmla="*/ 1901082 w 2087268"/>
              <a:gd name="connsiteY84" fmla="*/ 369658 h 1464204"/>
              <a:gd name="connsiteX85" fmla="*/ 1999507 w 2087268"/>
              <a:gd name="connsiteY85" fmla="*/ 445858 h 1464204"/>
              <a:gd name="connsiteX86" fmla="*/ 2082057 w 2087268"/>
              <a:gd name="connsiteY86" fmla="*/ 455383 h 1464204"/>
              <a:gd name="connsiteX87" fmla="*/ 2072532 w 2087268"/>
              <a:gd name="connsiteY87" fmla="*/ 518883 h 1464204"/>
              <a:gd name="connsiteX88" fmla="*/ 2021732 w 2087268"/>
              <a:gd name="connsiteY88" fmla="*/ 499833 h 1464204"/>
              <a:gd name="connsiteX89" fmla="*/ 1986807 w 2087268"/>
              <a:gd name="connsiteY89" fmla="*/ 588733 h 1464204"/>
              <a:gd name="connsiteX90" fmla="*/ 1897907 w 2087268"/>
              <a:gd name="connsiteY90" fmla="*/ 569683 h 1464204"/>
              <a:gd name="connsiteX91" fmla="*/ 1901082 w 2087268"/>
              <a:gd name="connsiteY91" fmla="*/ 614133 h 1464204"/>
              <a:gd name="connsiteX92" fmla="*/ 1872507 w 2087268"/>
              <a:gd name="connsiteY92" fmla="*/ 620483 h 1464204"/>
              <a:gd name="connsiteX93" fmla="*/ 1901082 w 2087268"/>
              <a:gd name="connsiteY93" fmla="*/ 683983 h 1464204"/>
              <a:gd name="connsiteX94" fmla="*/ 1993157 w 2087268"/>
              <a:gd name="connsiteY94" fmla="*/ 757008 h 1464204"/>
              <a:gd name="connsiteX95" fmla="*/ 2037607 w 2087268"/>
              <a:gd name="connsiteY95" fmla="*/ 788758 h 1464204"/>
              <a:gd name="connsiteX96" fmla="*/ 2021732 w 2087268"/>
              <a:gd name="connsiteY96" fmla="*/ 836383 h 1464204"/>
              <a:gd name="connsiteX97" fmla="*/ 1983632 w 2087268"/>
              <a:gd name="connsiteY97" fmla="*/ 845908 h 1464204"/>
              <a:gd name="connsiteX98" fmla="*/ 1989982 w 2087268"/>
              <a:gd name="connsiteY98" fmla="*/ 944333 h 146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2087268" h="1464204">
                <a:moveTo>
                  <a:pt x="1989982" y="944333"/>
                </a:moveTo>
                <a:cubicBezTo>
                  <a:pt x="1972520" y="974495"/>
                  <a:pt x="1915369" y="1016300"/>
                  <a:pt x="1878857" y="1026883"/>
                </a:cubicBezTo>
                <a:cubicBezTo>
                  <a:pt x="1842345" y="1037466"/>
                  <a:pt x="1806361" y="1006246"/>
                  <a:pt x="1770907" y="1007833"/>
                </a:cubicBezTo>
                <a:cubicBezTo>
                  <a:pt x="1735453" y="1009420"/>
                  <a:pt x="1702115" y="1016829"/>
                  <a:pt x="1666132" y="1036408"/>
                </a:cubicBezTo>
                <a:cubicBezTo>
                  <a:pt x="1630149" y="1055987"/>
                  <a:pt x="1598399" y="1111021"/>
                  <a:pt x="1555007" y="1125308"/>
                </a:cubicBezTo>
                <a:cubicBezTo>
                  <a:pt x="1511615" y="1139595"/>
                  <a:pt x="1452878" y="1122133"/>
                  <a:pt x="1405782" y="1122133"/>
                </a:cubicBezTo>
                <a:cubicBezTo>
                  <a:pt x="1358686" y="1122133"/>
                  <a:pt x="1356569" y="1078741"/>
                  <a:pt x="1272432" y="1125308"/>
                </a:cubicBezTo>
                <a:cubicBezTo>
                  <a:pt x="1188295" y="1171875"/>
                  <a:pt x="974511" y="1369783"/>
                  <a:pt x="900957" y="1401533"/>
                </a:cubicBezTo>
                <a:cubicBezTo>
                  <a:pt x="827403" y="1433283"/>
                  <a:pt x="840632" y="1317925"/>
                  <a:pt x="831107" y="1315808"/>
                </a:cubicBezTo>
                <a:cubicBezTo>
                  <a:pt x="821582" y="1313691"/>
                  <a:pt x="854919" y="1364491"/>
                  <a:pt x="843807" y="1388833"/>
                </a:cubicBezTo>
                <a:cubicBezTo>
                  <a:pt x="832695" y="1413175"/>
                  <a:pt x="784011" y="1477204"/>
                  <a:pt x="764432" y="1461858"/>
                </a:cubicBezTo>
                <a:cubicBezTo>
                  <a:pt x="744853" y="1446512"/>
                  <a:pt x="752261" y="1327450"/>
                  <a:pt x="726332" y="1296758"/>
                </a:cubicBezTo>
                <a:cubicBezTo>
                  <a:pt x="700403" y="1266066"/>
                  <a:pt x="639019" y="1288291"/>
                  <a:pt x="608857" y="1277708"/>
                </a:cubicBezTo>
                <a:cubicBezTo>
                  <a:pt x="578694" y="1267125"/>
                  <a:pt x="563878" y="1242783"/>
                  <a:pt x="545357" y="1233258"/>
                </a:cubicBezTo>
                <a:cubicBezTo>
                  <a:pt x="526836" y="1223733"/>
                  <a:pt x="501436" y="1230083"/>
                  <a:pt x="497732" y="1220558"/>
                </a:cubicBezTo>
                <a:cubicBezTo>
                  <a:pt x="494028" y="1211033"/>
                  <a:pt x="532657" y="1189337"/>
                  <a:pt x="523132" y="1176108"/>
                </a:cubicBezTo>
                <a:cubicBezTo>
                  <a:pt x="513607" y="1162879"/>
                  <a:pt x="439524" y="1167112"/>
                  <a:pt x="440582" y="1141183"/>
                </a:cubicBezTo>
                <a:cubicBezTo>
                  <a:pt x="441640" y="1115254"/>
                  <a:pt x="522074" y="1051225"/>
                  <a:pt x="529482" y="1020533"/>
                </a:cubicBezTo>
                <a:cubicBezTo>
                  <a:pt x="536890" y="989841"/>
                  <a:pt x="507257" y="973966"/>
                  <a:pt x="485032" y="957033"/>
                </a:cubicBezTo>
                <a:cubicBezTo>
                  <a:pt x="462807" y="940100"/>
                  <a:pt x="421532" y="939571"/>
                  <a:pt x="396132" y="918933"/>
                </a:cubicBezTo>
                <a:cubicBezTo>
                  <a:pt x="370732" y="898295"/>
                  <a:pt x="346919" y="859666"/>
                  <a:pt x="332632" y="833208"/>
                </a:cubicBezTo>
                <a:cubicBezTo>
                  <a:pt x="318345" y="806750"/>
                  <a:pt x="317286" y="782937"/>
                  <a:pt x="310407" y="760183"/>
                </a:cubicBezTo>
                <a:cubicBezTo>
                  <a:pt x="303528" y="737429"/>
                  <a:pt x="299294" y="713616"/>
                  <a:pt x="291357" y="696683"/>
                </a:cubicBezTo>
                <a:cubicBezTo>
                  <a:pt x="283420" y="679750"/>
                  <a:pt x="278657" y="659112"/>
                  <a:pt x="262782" y="658583"/>
                </a:cubicBezTo>
                <a:cubicBezTo>
                  <a:pt x="246907" y="658054"/>
                  <a:pt x="215157" y="691391"/>
                  <a:pt x="196107" y="693508"/>
                </a:cubicBezTo>
                <a:cubicBezTo>
                  <a:pt x="177057" y="695625"/>
                  <a:pt x="148482" y="671283"/>
                  <a:pt x="148482" y="671283"/>
                </a:cubicBezTo>
                <a:cubicBezTo>
                  <a:pt x="130490" y="662816"/>
                  <a:pt x="109853" y="646412"/>
                  <a:pt x="88157" y="642708"/>
                </a:cubicBezTo>
                <a:cubicBezTo>
                  <a:pt x="66461" y="639004"/>
                  <a:pt x="32594" y="653291"/>
                  <a:pt x="18307" y="649058"/>
                </a:cubicBezTo>
                <a:cubicBezTo>
                  <a:pt x="4020" y="644825"/>
                  <a:pt x="-4447" y="626304"/>
                  <a:pt x="2432" y="617308"/>
                </a:cubicBezTo>
                <a:cubicBezTo>
                  <a:pt x="9311" y="608312"/>
                  <a:pt x="29949" y="601962"/>
                  <a:pt x="59582" y="595083"/>
                </a:cubicBezTo>
                <a:cubicBezTo>
                  <a:pt x="89215" y="588204"/>
                  <a:pt x="149540" y="583970"/>
                  <a:pt x="180232" y="576033"/>
                </a:cubicBezTo>
                <a:cubicBezTo>
                  <a:pt x="210924" y="568096"/>
                  <a:pt x="222036" y="557512"/>
                  <a:pt x="243732" y="547458"/>
                </a:cubicBezTo>
                <a:cubicBezTo>
                  <a:pt x="265428" y="537404"/>
                  <a:pt x="282361" y="518883"/>
                  <a:pt x="310407" y="515708"/>
                </a:cubicBezTo>
                <a:cubicBezTo>
                  <a:pt x="338453" y="512533"/>
                  <a:pt x="380257" y="523646"/>
                  <a:pt x="412007" y="528408"/>
                </a:cubicBezTo>
                <a:cubicBezTo>
                  <a:pt x="443757" y="533170"/>
                  <a:pt x="481328" y="538462"/>
                  <a:pt x="500907" y="544283"/>
                </a:cubicBezTo>
                <a:cubicBezTo>
                  <a:pt x="520486" y="550104"/>
                  <a:pt x="512019" y="554337"/>
                  <a:pt x="529482" y="563333"/>
                </a:cubicBezTo>
                <a:cubicBezTo>
                  <a:pt x="546944" y="572329"/>
                  <a:pt x="582399" y="600904"/>
                  <a:pt x="605682" y="598258"/>
                </a:cubicBezTo>
                <a:cubicBezTo>
                  <a:pt x="628965" y="595612"/>
                  <a:pt x="642195" y="559100"/>
                  <a:pt x="669182" y="547458"/>
                </a:cubicBezTo>
                <a:cubicBezTo>
                  <a:pt x="696169" y="535816"/>
                  <a:pt x="740090" y="533170"/>
                  <a:pt x="767607" y="528408"/>
                </a:cubicBezTo>
                <a:cubicBezTo>
                  <a:pt x="795124" y="523646"/>
                  <a:pt x="823699" y="531583"/>
                  <a:pt x="834282" y="518883"/>
                </a:cubicBezTo>
                <a:cubicBezTo>
                  <a:pt x="844865" y="506183"/>
                  <a:pt x="840632" y="472845"/>
                  <a:pt x="831107" y="452208"/>
                </a:cubicBezTo>
                <a:cubicBezTo>
                  <a:pt x="821582" y="431571"/>
                  <a:pt x="794595" y="420458"/>
                  <a:pt x="777132" y="395058"/>
                </a:cubicBezTo>
                <a:cubicBezTo>
                  <a:pt x="759669" y="369658"/>
                  <a:pt x="743265" y="317270"/>
                  <a:pt x="726332" y="299808"/>
                </a:cubicBezTo>
                <a:cubicBezTo>
                  <a:pt x="709399" y="282346"/>
                  <a:pt x="687174" y="277583"/>
                  <a:pt x="675532" y="290283"/>
                </a:cubicBezTo>
                <a:cubicBezTo>
                  <a:pt x="663890" y="302983"/>
                  <a:pt x="665478" y="352196"/>
                  <a:pt x="656482" y="376008"/>
                </a:cubicBezTo>
                <a:cubicBezTo>
                  <a:pt x="647486" y="399820"/>
                  <a:pt x="635315" y="419400"/>
                  <a:pt x="621557" y="433158"/>
                </a:cubicBezTo>
                <a:cubicBezTo>
                  <a:pt x="607799" y="446916"/>
                  <a:pt x="584515" y="471787"/>
                  <a:pt x="573932" y="458558"/>
                </a:cubicBezTo>
                <a:cubicBezTo>
                  <a:pt x="563349" y="445329"/>
                  <a:pt x="563349" y="388179"/>
                  <a:pt x="558057" y="353783"/>
                </a:cubicBezTo>
                <a:cubicBezTo>
                  <a:pt x="552765" y="319387"/>
                  <a:pt x="554882" y="274408"/>
                  <a:pt x="542182" y="252183"/>
                </a:cubicBezTo>
                <a:cubicBezTo>
                  <a:pt x="529482" y="229958"/>
                  <a:pt x="482386" y="234720"/>
                  <a:pt x="481857" y="220433"/>
                </a:cubicBezTo>
                <a:cubicBezTo>
                  <a:pt x="481328" y="206145"/>
                  <a:pt x="539007" y="182862"/>
                  <a:pt x="539007" y="166458"/>
                </a:cubicBezTo>
                <a:cubicBezTo>
                  <a:pt x="539007" y="150054"/>
                  <a:pt x="489265" y="134708"/>
                  <a:pt x="481857" y="122008"/>
                </a:cubicBezTo>
                <a:cubicBezTo>
                  <a:pt x="474449" y="109308"/>
                  <a:pt x="492440" y="101900"/>
                  <a:pt x="494557" y="90258"/>
                </a:cubicBezTo>
                <a:cubicBezTo>
                  <a:pt x="496674" y="78616"/>
                  <a:pt x="484503" y="54804"/>
                  <a:pt x="494557" y="52158"/>
                </a:cubicBezTo>
                <a:cubicBezTo>
                  <a:pt x="504611" y="49512"/>
                  <a:pt x="533715" y="77558"/>
                  <a:pt x="554882" y="74383"/>
                </a:cubicBezTo>
                <a:cubicBezTo>
                  <a:pt x="576049" y="71208"/>
                  <a:pt x="594570" y="40516"/>
                  <a:pt x="621557" y="33108"/>
                </a:cubicBezTo>
                <a:cubicBezTo>
                  <a:pt x="648544" y="25700"/>
                  <a:pt x="693524" y="33637"/>
                  <a:pt x="716807" y="29933"/>
                </a:cubicBezTo>
                <a:cubicBezTo>
                  <a:pt x="740090" y="26229"/>
                  <a:pt x="745911" y="9295"/>
                  <a:pt x="761257" y="10883"/>
                </a:cubicBezTo>
                <a:cubicBezTo>
                  <a:pt x="776603" y="12470"/>
                  <a:pt x="789303" y="38400"/>
                  <a:pt x="808882" y="39458"/>
                </a:cubicBezTo>
                <a:cubicBezTo>
                  <a:pt x="828461" y="40516"/>
                  <a:pt x="856507" y="17762"/>
                  <a:pt x="878732" y="17233"/>
                </a:cubicBezTo>
                <a:cubicBezTo>
                  <a:pt x="900957" y="16704"/>
                  <a:pt x="923711" y="38929"/>
                  <a:pt x="942232" y="36283"/>
                </a:cubicBezTo>
                <a:cubicBezTo>
                  <a:pt x="960753" y="33637"/>
                  <a:pt x="967103" y="5591"/>
                  <a:pt x="989857" y="1358"/>
                </a:cubicBezTo>
                <a:cubicBezTo>
                  <a:pt x="1012611" y="-2875"/>
                  <a:pt x="1056003" y="3475"/>
                  <a:pt x="1078757" y="10883"/>
                </a:cubicBezTo>
                <a:cubicBezTo>
                  <a:pt x="1101511" y="18291"/>
                  <a:pt x="1105745" y="45808"/>
                  <a:pt x="1126382" y="45808"/>
                </a:cubicBezTo>
                <a:cubicBezTo>
                  <a:pt x="1147019" y="45808"/>
                  <a:pt x="1184590" y="11412"/>
                  <a:pt x="1202582" y="10883"/>
                </a:cubicBezTo>
                <a:cubicBezTo>
                  <a:pt x="1220574" y="10354"/>
                  <a:pt x="1220044" y="35754"/>
                  <a:pt x="1234332" y="42633"/>
                </a:cubicBezTo>
                <a:cubicBezTo>
                  <a:pt x="1248619" y="49512"/>
                  <a:pt x="1283015" y="45279"/>
                  <a:pt x="1288307" y="52158"/>
                </a:cubicBezTo>
                <a:cubicBezTo>
                  <a:pt x="1293599" y="59037"/>
                  <a:pt x="1260261" y="66446"/>
                  <a:pt x="1266082" y="83908"/>
                </a:cubicBezTo>
                <a:cubicBezTo>
                  <a:pt x="1271903" y="101370"/>
                  <a:pt x="1320586" y="140000"/>
                  <a:pt x="1323232" y="156933"/>
                </a:cubicBezTo>
                <a:cubicBezTo>
                  <a:pt x="1325878" y="173866"/>
                  <a:pt x="1281428" y="177041"/>
                  <a:pt x="1281957" y="185508"/>
                </a:cubicBezTo>
                <a:cubicBezTo>
                  <a:pt x="1282486" y="193975"/>
                  <a:pt x="1313178" y="209320"/>
                  <a:pt x="1326407" y="207733"/>
                </a:cubicBezTo>
                <a:cubicBezTo>
                  <a:pt x="1339636" y="206146"/>
                  <a:pt x="1347044" y="173866"/>
                  <a:pt x="1361332" y="175983"/>
                </a:cubicBezTo>
                <a:cubicBezTo>
                  <a:pt x="1375619" y="178100"/>
                  <a:pt x="1390965" y="217787"/>
                  <a:pt x="1412132" y="220433"/>
                </a:cubicBezTo>
                <a:cubicBezTo>
                  <a:pt x="1433299" y="223079"/>
                  <a:pt x="1465578" y="195562"/>
                  <a:pt x="1488332" y="191858"/>
                </a:cubicBezTo>
                <a:cubicBezTo>
                  <a:pt x="1511086" y="188154"/>
                  <a:pt x="1530665" y="204029"/>
                  <a:pt x="1548657" y="198208"/>
                </a:cubicBezTo>
                <a:cubicBezTo>
                  <a:pt x="1566649" y="192387"/>
                  <a:pt x="1581465" y="156404"/>
                  <a:pt x="1596282" y="156933"/>
                </a:cubicBezTo>
                <a:cubicBezTo>
                  <a:pt x="1611099" y="157462"/>
                  <a:pt x="1628561" y="190800"/>
                  <a:pt x="1637557" y="201383"/>
                </a:cubicBezTo>
                <a:cubicBezTo>
                  <a:pt x="1646553" y="211966"/>
                  <a:pt x="1641261" y="216200"/>
                  <a:pt x="1650257" y="220433"/>
                </a:cubicBezTo>
                <a:cubicBezTo>
                  <a:pt x="1659253" y="224666"/>
                  <a:pt x="1684124" y="219375"/>
                  <a:pt x="1691532" y="226783"/>
                </a:cubicBezTo>
                <a:cubicBezTo>
                  <a:pt x="1698940" y="234191"/>
                  <a:pt x="1689415" y="256416"/>
                  <a:pt x="1694707" y="264883"/>
                </a:cubicBezTo>
                <a:cubicBezTo>
                  <a:pt x="1699999" y="273350"/>
                  <a:pt x="1718520" y="268587"/>
                  <a:pt x="1723282" y="277583"/>
                </a:cubicBezTo>
                <a:cubicBezTo>
                  <a:pt x="1728044" y="286579"/>
                  <a:pt x="1712170" y="306158"/>
                  <a:pt x="1723282" y="318858"/>
                </a:cubicBezTo>
                <a:cubicBezTo>
                  <a:pt x="1734394" y="331558"/>
                  <a:pt x="1767732" y="340554"/>
                  <a:pt x="1789957" y="353783"/>
                </a:cubicBezTo>
                <a:cubicBezTo>
                  <a:pt x="1812182" y="367012"/>
                  <a:pt x="1838111" y="395587"/>
                  <a:pt x="1856632" y="398233"/>
                </a:cubicBezTo>
                <a:cubicBezTo>
                  <a:pt x="1875153" y="400879"/>
                  <a:pt x="1877269" y="361720"/>
                  <a:pt x="1901082" y="369658"/>
                </a:cubicBezTo>
                <a:cubicBezTo>
                  <a:pt x="1924894" y="377595"/>
                  <a:pt x="1969345" y="431571"/>
                  <a:pt x="1999507" y="445858"/>
                </a:cubicBezTo>
                <a:cubicBezTo>
                  <a:pt x="2029669" y="460145"/>
                  <a:pt x="2069886" y="443212"/>
                  <a:pt x="2082057" y="455383"/>
                </a:cubicBezTo>
                <a:cubicBezTo>
                  <a:pt x="2094228" y="467554"/>
                  <a:pt x="2082586" y="511475"/>
                  <a:pt x="2072532" y="518883"/>
                </a:cubicBezTo>
                <a:cubicBezTo>
                  <a:pt x="2062478" y="526291"/>
                  <a:pt x="2036019" y="488191"/>
                  <a:pt x="2021732" y="499833"/>
                </a:cubicBezTo>
                <a:cubicBezTo>
                  <a:pt x="2007445" y="511475"/>
                  <a:pt x="2007444" y="577091"/>
                  <a:pt x="1986807" y="588733"/>
                </a:cubicBezTo>
                <a:cubicBezTo>
                  <a:pt x="1966170" y="600375"/>
                  <a:pt x="1912194" y="565450"/>
                  <a:pt x="1897907" y="569683"/>
                </a:cubicBezTo>
                <a:cubicBezTo>
                  <a:pt x="1883620" y="573916"/>
                  <a:pt x="1905315" y="605666"/>
                  <a:pt x="1901082" y="614133"/>
                </a:cubicBezTo>
                <a:cubicBezTo>
                  <a:pt x="1896849" y="622600"/>
                  <a:pt x="1872507" y="608841"/>
                  <a:pt x="1872507" y="620483"/>
                </a:cubicBezTo>
                <a:cubicBezTo>
                  <a:pt x="1872507" y="632125"/>
                  <a:pt x="1880974" y="661229"/>
                  <a:pt x="1901082" y="683983"/>
                </a:cubicBezTo>
                <a:cubicBezTo>
                  <a:pt x="1921190" y="706737"/>
                  <a:pt x="1970403" y="739545"/>
                  <a:pt x="1993157" y="757008"/>
                </a:cubicBezTo>
                <a:cubicBezTo>
                  <a:pt x="2015911" y="774470"/>
                  <a:pt x="2032845" y="775529"/>
                  <a:pt x="2037607" y="788758"/>
                </a:cubicBezTo>
                <a:cubicBezTo>
                  <a:pt x="2042369" y="801987"/>
                  <a:pt x="2030728" y="826858"/>
                  <a:pt x="2021732" y="836383"/>
                </a:cubicBezTo>
                <a:cubicBezTo>
                  <a:pt x="2012736" y="845908"/>
                  <a:pt x="1990511" y="835854"/>
                  <a:pt x="1983632" y="845908"/>
                </a:cubicBezTo>
                <a:cubicBezTo>
                  <a:pt x="1976753" y="855962"/>
                  <a:pt x="2007444" y="914171"/>
                  <a:pt x="1989982" y="944333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49" name="TextBox 48"/>
          <p:cNvSpPr txBox="1"/>
          <p:nvPr/>
        </p:nvSpPr>
        <p:spPr>
          <a:xfrm>
            <a:off x="7950493" y="3773016"/>
            <a:ext cx="919665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Запоріжжя</a:t>
            </a:r>
            <a:endParaRPr lang="uk-UA" sz="1236" b="1" dirty="0"/>
          </a:p>
        </p:txBody>
      </p:sp>
      <p:sp>
        <p:nvSpPr>
          <p:cNvPr id="50" name="Полілінія 49"/>
          <p:cNvSpPr/>
          <p:nvPr/>
        </p:nvSpPr>
        <p:spPr>
          <a:xfrm>
            <a:off x="8705976" y="2717181"/>
            <a:ext cx="1232751" cy="1319668"/>
          </a:xfrm>
          <a:custGeom>
            <a:avLst/>
            <a:gdLst>
              <a:gd name="connsiteX0" fmla="*/ 1591183 w 1596108"/>
              <a:gd name="connsiteY0" fmla="*/ 831860 h 1708644"/>
              <a:gd name="connsiteX1" fmla="*/ 1467358 w 1596108"/>
              <a:gd name="connsiteY1" fmla="*/ 844560 h 1708644"/>
              <a:gd name="connsiteX2" fmla="*/ 1454658 w 1596108"/>
              <a:gd name="connsiteY2" fmla="*/ 946160 h 1708644"/>
              <a:gd name="connsiteX3" fmla="*/ 1372108 w 1596108"/>
              <a:gd name="connsiteY3" fmla="*/ 1006485 h 1708644"/>
              <a:gd name="connsiteX4" fmla="*/ 1289558 w 1596108"/>
              <a:gd name="connsiteY4" fmla="*/ 1060460 h 1708644"/>
              <a:gd name="connsiteX5" fmla="*/ 1175258 w 1596108"/>
              <a:gd name="connsiteY5" fmla="*/ 1111260 h 1708644"/>
              <a:gd name="connsiteX6" fmla="*/ 1187958 w 1596108"/>
              <a:gd name="connsiteY6" fmla="*/ 1057285 h 1708644"/>
              <a:gd name="connsiteX7" fmla="*/ 1156208 w 1596108"/>
              <a:gd name="connsiteY7" fmla="*/ 1298585 h 1708644"/>
              <a:gd name="connsiteX8" fmla="*/ 1194308 w 1596108"/>
              <a:gd name="connsiteY8" fmla="*/ 1330335 h 1708644"/>
              <a:gd name="connsiteX9" fmla="*/ 1133983 w 1596108"/>
              <a:gd name="connsiteY9" fmla="*/ 1422410 h 1708644"/>
              <a:gd name="connsiteX10" fmla="*/ 1137158 w 1596108"/>
              <a:gd name="connsiteY10" fmla="*/ 1485910 h 1708644"/>
              <a:gd name="connsiteX11" fmla="*/ 1076833 w 1596108"/>
              <a:gd name="connsiteY11" fmla="*/ 1514485 h 1708644"/>
              <a:gd name="connsiteX12" fmla="*/ 1013333 w 1596108"/>
              <a:gd name="connsiteY12" fmla="*/ 1485910 h 1708644"/>
              <a:gd name="connsiteX13" fmla="*/ 927608 w 1596108"/>
              <a:gd name="connsiteY13" fmla="*/ 1508135 h 1708644"/>
              <a:gd name="connsiteX14" fmla="*/ 873633 w 1596108"/>
              <a:gd name="connsiteY14" fmla="*/ 1501785 h 1708644"/>
              <a:gd name="connsiteX15" fmla="*/ 803783 w 1596108"/>
              <a:gd name="connsiteY15" fmla="*/ 1524010 h 1708644"/>
              <a:gd name="connsiteX16" fmla="*/ 730758 w 1596108"/>
              <a:gd name="connsiteY16" fmla="*/ 1524010 h 1708644"/>
              <a:gd name="connsiteX17" fmla="*/ 692658 w 1596108"/>
              <a:gd name="connsiteY17" fmla="*/ 1558935 h 1708644"/>
              <a:gd name="connsiteX18" fmla="*/ 581533 w 1596108"/>
              <a:gd name="connsiteY18" fmla="*/ 1660535 h 1708644"/>
              <a:gd name="connsiteX19" fmla="*/ 476758 w 1596108"/>
              <a:gd name="connsiteY19" fmla="*/ 1673235 h 1708644"/>
              <a:gd name="connsiteX20" fmla="*/ 406908 w 1596108"/>
              <a:gd name="connsiteY20" fmla="*/ 1708160 h 1708644"/>
              <a:gd name="connsiteX21" fmla="*/ 378333 w 1596108"/>
              <a:gd name="connsiteY21" fmla="*/ 1644660 h 1708644"/>
              <a:gd name="connsiteX22" fmla="*/ 441833 w 1596108"/>
              <a:gd name="connsiteY22" fmla="*/ 1622435 h 1708644"/>
              <a:gd name="connsiteX23" fmla="*/ 432308 w 1596108"/>
              <a:gd name="connsiteY23" fmla="*/ 1565285 h 1708644"/>
              <a:gd name="connsiteX24" fmla="*/ 375158 w 1596108"/>
              <a:gd name="connsiteY24" fmla="*/ 1539885 h 1708644"/>
              <a:gd name="connsiteX25" fmla="*/ 283083 w 1596108"/>
              <a:gd name="connsiteY25" fmla="*/ 1435110 h 1708644"/>
              <a:gd name="connsiteX26" fmla="*/ 302133 w 1596108"/>
              <a:gd name="connsiteY26" fmla="*/ 1412885 h 1708644"/>
              <a:gd name="connsiteX27" fmla="*/ 308483 w 1596108"/>
              <a:gd name="connsiteY27" fmla="*/ 1374785 h 1708644"/>
              <a:gd name="connsiteX28" fmla="*/ 391033 w 1596108"/>
              <a:gd name="connsiteY28" fmla="*/ 1377960 h 1708644"/>
              <a:gd name="connsiteX29" fmla="*/ 406908 w 1596108"/>
              <a:gd name="connsiteY29" fmla="*/ 1304935 h 1708644"/>
              <a:gd name="connsiteX30" fmla="*/ 464058 w 1596108"/>
              <a:gd name="connsiteY30" fmla="*/ 1317635 h 1708644"/>
              <a:gd name="connsiteX31" fmla="*/ 479933 w 1596108"/>
              <a:gd name="connsiteY31" fmla="*/ 1241435 h 1708644"/>
              <a:gd name="connsiteX32" fmla="*/ 356108 w 1596108"/>
              <a:gd name="connsiteY32" fmla="*/ 1212860 h 1708644"/>
              <a:gd name="connsiteX33" fmla="*/ 295783 w 1596108"/>
              <a:gd name="connsiteY33" fmla="*/ 1165235 h 1708644"/>
              <a:gd name="connsiteX34" fmla="*/ 273558 w 1596108"/>
              <a:gd name="connsiteY34" fmla="*/ 1165235 h 1708644"/>
              <a:gd name="connsiteX35" fmla="*/ 232283 w 1596108"/>
              <a:gd name="connsiteY35" fmla="*/ 1184285 h 1708644"/>
              <a:gd name="connsiteX36" fmla="*/ 181483 w 1596108"/>
              <a:gd name="connsiteY36" fmla="*/ 1139835 h 1708644"/>
              <a:gd name="connsiteX37" fmla="*/ 117983 w 1596108"/>
              <a:gd name="connsiteY37" fmla="*/ 1101735 h 1708644"/>
              <a:gd name="connsiteX38" fmla="*/ 114808 w 1596108"/>
              <a:gd name="connsiteY38" fmla="*/ 1069985 h 1708644"/>
              <a:gd name="connsiteX39" fmla="*/ 76708 w 1596108"/>
              <a:gd name="connsiteY39" fmla="*/ 1035060 h 1708644"/>
              <a:gd name="connsiteX40" fmla="*/ 51308 w 1596108"/>
              <a:gd name="connsiteY40" fmla="*/ 1012835 h 1708644"/>
              <a:gd name="connsiteX41" fmla="*/ 22733 w 1596108"/>
              <a:gd name="connsiteY41" fmla="*/ 977910 h 1708644"/>
              <a:gd name="connsiteX42" fmla="*/ 508 w 1596108"/>
              <a:gd name="connsiteY42" fmla="*/ 933460 h 1708644"/>
              <a:gd name="connsiteX43" fmla="*/ 44958 w 1596108"/>
              <a:gd name="connsiteY43" fmla="*/ 920760 h 1708644"/>
              <a:gd name="connsiteX44" fmla="*/ 3683 w 1596108"/>
              <a:gd name="connsiteY44" fmla="*/ 850910 h 1708644"/>
              <a:gd name="connsiteX45" fmla="*/ 16383 w 1596108"/>
              <a:gd name="connsiteY45" fmla="*/ 793760 h 1708644"/>
              <a:gd name="connsiteX46" fmla="*/ 114808 w 1596108"/>
              <a:gd name="connsiteY46" fmla="*/ 793760 h 1708644"/>
              <a:gd name="connsiteX47" fmla="*/ 203708 w 1596108"/>
              <a:gd name="connsiteY47" fmla="*/ 806460 h 1708644"/>
              <a:gd name="connsiteX48" fmla="*/ 191008 w 1596108"/>
              <a:gd name="connsiteY48" fmla="*/ 733435 h 1708644"/>
              <a:gd name="connsiteX49" fmla="*/ 206883 w 1596108"/>
              <a:gd name="connsiteY49" fmla="*/ 638185 h 1708644"/>
              <a:gd name="connsiteX50" fmla="*/ 168783 w 1596108"/>
              <a:gd name="connsiteY50" fmla="*/ 612785 h 1708644"/>
              <a:gd name="connsiteX51" fmla="*/ 140208 w 1596108"/>
              <a:gd name="connsiteY51" fmla="*/ 596910 h 1708644"/>
              <a:gd name="connsiteX52" fmla="*/ 130683 w 1596108"/>
              <a:gd name="connsiteY52" fmla="*/ 441335 h 1708644"/>
              <a:gd name="connsiteX53" fmla="*/ 165608 w 1596108"/>
              <a:gd name="connsiteY53" fmla="*/ 428635 h 1708644"/>
              <a:gd name="connsiteX54" fmla="*/ 149733 w 1596108"/>
              <a:gd name="connsiteY54" fmla="*/ 412760 h 1708644"/>
              <a:gd name="connsiteX55" fmla="*/ 64008 w 1596108"/>
              <a:gd name="connsiteY55" fmla="*/ 415935 h 1708644"/>
              <a:gd name="connsiteX56" fmla="*/ 29083 w 1596108"/>
              <a:gd name="connsiteY56" fmla="*/ 250835 h 1708644"/>
              <a:gd name="connsiteX57" fmla="*/ 133858 w 1596108"/>
              <a:gd name="connsiteY57" fmla="*/ 247660 h 1708644"/>
              <a:gd name="connsiteX58" fmla="*/ 222758 w 1596108"/>
              <a:gd name="connsiteY58" fmla="*/ 247660 h 1708644"/>
              <a:gd name="connsiteX59" fmla="*/ 254508 w 1596108"/>
              <a:gd name="connsiteY59" fmla="*/ 196860 h 1708644"/>
              <a:gd name="connsiteX60" fmla="*/ 308483 w 1596108"/>
              <a:gd name="connsiteY60" fmla="*/ 196860 h 1708644"/>
              <a:gd name="connsiteX61" fmla="*/ 356108 w 1596108"/>
              <a:gd name="connsiteY61" fmla="*/ 136535 h 1708644"/>
              <a:gd name="connsiteX62" fmla="*/ 406908 w 1596108"/>
              <a:gd name="connsiteY62" fmla="*/ 123835 h 1708644"/>
              <a:gd name="connsiteX63" fmla="*/ 400558 w 1596108"/>
              <a:gd name="connsiteY63" fmla="*/ 63510 h 1708644"/>
              <a:gd name="connsiteX64" fmla="*/ 432308 w 1596108"/>
              <a:gd name="connsiteY64" fmla="*/ 60335 h 1708644"/>
              <a:gd name="connsiteX65" fmla="*/ 419608 w 1596108"/>
              <a:gd name="connsiteY65" fmla="*/ 28585 h 1708644"/>
              <a:gd name="connsiteX66" fmla="*/ 467233 w 1596108"/>
              <a:gd name="connsiteY66" fmla="*/ 10 h 1708644"/>
              <a:gd name="connsiteX67" fmla="*/ 514858 w 1596108"/>
              <a:gd name="connsiteY67" fmla="*/ 31760 h 1708644"/>
              <a:gd name="connsiteX68" fmla="*/ 584708 w 1596108"/>
              <a:gd name="connsiteY68" fmla="*/ 15885 h 1708644"/>
              <a:gd name="connsiteX69" fmla="*/ 584708 w 1596108"/>
              <a:gd name="connsiteY69" fmla="*/ 53985 h 1708644"/>
              <a:gd name="connsiteX70" fmla="*/ 733933 w 1596108"/>
              <a:gd name="connsiteY70" fmla="*/ 127010 h 1708644"/>
              <a:gd name="connsiteX71" fmla="*/ 845058 w 1596108"/>
              <a:gd name="connsiteY71" fmla="*/ 98435 h 1708644"/>
              <a:gd name="connsiteX72" fmla="*/ 873633 w 1596108"/>
              <a:gd name="connsiteY72" fmla="*/ 85735 h 1708644"/>
              <a:gd name="connsiteX73" fmla="*/ 943483 w 1596108"/>
              <a:gd name="connsiteY73" fmla="*/ 69860 h 1708644"/>
              <a:gd name="connsiteX74" fmla="*/ 1006983 w 1596108"/>
              <a:gd name="connsiteY74" fmla="*/ 127010 h 1708644"/>
              <a:gd name="connsiteX75" fmla="*/ 1022858 w 1596108"/>
              <a:gd name="connsiteY75" fmla="*/ 361960 h 1708644"/>
              <a:gd name="connsiteX76" fmla="*/ 1022858 w 1596108"/>
              <a:gd name="connsiteY76" fmla="*/ 361960 h 1708644"/>
              <a:gd name="connsiteX77" fmla="*/ 1038733 w 1596108"/>
              <a:gd name="connsiteY77" fmla="*/ 419110 h 1708644"/>
              <a:gd name="connsiteX78" fmla="*/ 1153033 w 1596108"/>
              <a:gd name="connsiteY78" fmla="*/ 444510 h 1708644"/>
              <a:gd name="connsiteX79" fmla="*/ 1184783 w 1596108"/>
              <a:gd name="connsiteY79" fmla="*/ 473085 h 1708644"/>
              <a:gd name="connsiteX80" fmla="*/ 1127633 w 1596108"/>
              <a:gd name="connsiteY80" fmla="*/ 527060 h 1708644"/>
              <a:gd name="connsiteX81" fmla="*/ 1270508 w 1596108"/>
              <a:gd name="connsiteY81" fmla="*/ 546110 h 1708644"/>
              <a:gd name="connsiteX82" fmla="*/ 1340358 w 1596108"/>
              <a:gd name="connsiteY82" fmla="*/ 644535 h 1708644"/>
              <a:gd name="connsiteX83" fmla="*/ 1435608 w 1596108"/>
              <a:gd name="connsiteY83" fmla="*/ 650885 h 1708644"/>
              <a:gd name="connsiteX84" fmla="*/ 1426083 w 1596108"/>
              <a:gd name="connsiteY84" fmla="*/ 717560 h 1708644"/>
              <a:gd name="connsiteX85" fmla="*/ 1556258 w 1596108"/>
              <a:gd name="connsiteY85" fmla="*/ 730260 h 1708644"/>
              <a:gd name="connsiteX86" fmla="*/ 1591183 w 1596108"/>
              <a:gd name="connsiteY86" fmla="*/ 831860 h 170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596108" h="1708644">
                <a:moveTo>
                  <a:pt x="1591183" y="831860"/>
                </a:moveTo>
                <a:cubicBezTo>
                  <a:pt x="1576366" y="850910"/>
                  <a:pt x="1490112" y="825510"/>
                  <a:pt x="1467358" y="844560"/>
                </a:cubicBezTo>
                <a:cubicBezTo>
                  <a:pt x="1444604" y="863610"/>
                  <a:pt x="1470533" y="919173"/>
                  <a:pt x="1454658" y="946160"/>
                </a:cubicBezTo>
                <a:cubicBezTo>
                  <a:pt x="1438783" y="973148"/>
                  <a:pt x="1399625" y="987435"/>
                  <a:pt x="1372108" y="1006485"/>
                </a:cubicBezTo>
                <a:cubicBezTo>
                  <a:pt x="1344591" y="1025535"/>
                  <a:pt x="1322366" y="1042998"/>
                  <a:pt x="1289558" y="1060460"/>
                </a:cubicBezTo>
                <a:cubicBezTo>
                  <a:pt x="1256750" y="1077922"/>
                  <a:pt x="1192191" y="1111789"/>
                  <a:pt x="1175258" y="1111260"/>
                </a:cubicBezTo>
                <a:cubicBezTo>
                  <a:pt x="1158325" y="1110731"/>
                  <a:pt x="1191133" y="1026064"/>
                  <a:pt x="1187958" y="1057285"/>
                </a:cubicBezTo>
                <a:cubicBezTo>
                  <a:pt x="1184783" y="1088506"/>
                  <a:pt x="1155150" y="1253077"/>
                  <a:pt x="1156208" y="1298585"/>
                </a:cubicBezTo>
                <a:cubicBezTo>
                  <a:pt x="1157266" y="1344093"/>
                  <a:pt x="1198012" y="1309697"/>
                  <a:pt x="1194308" y="1330335"/>
                </a:cubicBezTo>
                <a:cubicBezTo>
                  <a:pt x="1190604" y="1350973"/>
                  <a:pt x="1143508" y="1396481"/>
                  <a:pt x="1133983" y="1422410"/>
                </a:cubicBezTo>
                <a:cubicBezTo>
                  <a:pt x="1124458" y="1448339"/>
                  <a:pt x="1146683" y="1470564"/>
                  <a:pt x="1137158" y="1485910"/>
                </a:cubicBezTo>
                <a:cubicBezTo>
                  <a:pt x="1127633" y="1501256"/>
                  <a:pt x="1097470" y="1514485"/>
                  <a:pt x="1076833" y="1514485"/>
                </a:cubicBezTo>
                <a:cubicBezTo>
                  <a:pt x="1056196" y="1514485"/>
                  <a:pt x="1038204" y="1486968"/>
                  <a:pt x="1013333" y="1485910"/>
                </a:cubicBezTo>
                <a:cubicBezTo>
                  <a:pt x="988462" y="1484852"/>
                  <a:pt x="950891" y="1505489"/>
                  <a:pt x="927608" y="1508135"/>
                </a:cubicBezTo>
                <a:cubicBezTo>
                  <a:pt x="904325" y="1510781"/>
                  <a:pt x="894270" y="1499139"/>
                  <a:pt x="873633" y="1501785"/>
                </a:cubicBezTo>
                <a:cubicBezTo>
                  <a:pt x="852996" y="1504431"/>
                  <a:pt x="827595" y="1520306"/>
                  <a:pt x="803783" y="1524010"/>
                </a:cubicBezTo>
                <a:cubicBezTo>
                  <a:pt x="779970" y="1527714"/>
                  <a:pt x="749279" y="1518189"/>
                  <a:pt x="730758" y="1524010"/>
                </a:cubicBezTo>
                <a:cubicBezTo>
                  <a:pt x="712237" y="1529831"/>
                  <a:pt x="692658" y="1558935"/>
                  <a:pt x="692658" y="1558935"/>
                </a:cubicBezTo>
                <a:cubicBezTo>
                  <a:pt x="667787" y="1581689"/>
                  <a:pt x="617516" y="1641485"/>
                  <a:pt x="581533" y="1660535"/>
                </a:cubicBezTo>
                <a:cubicBezTo>
                  <a:pt x="545550" y="1679585"/>
                  <a:pt x="505862" y="1665298"/>
                  <a:pt x="476758" y="1673235"/>
                </a:cubicBezTo>
                <a:cubicBezTo>
                  <a:pt x="447654" y="1681172"/>
                  <a:pt x="423312" y="1712923"/>
                  <a:pt x="406908" y="1708160"/>
                </a:cubicBezTo>
                <a:cubicBezTo>
                  <a:pt x="390504" y="1703397"/>
                  <a:pt x="372512" y="1658947"/>
                  <a:pt x="378333" y="1644660"/>
                </a:cubicBezTo>
                <a:cubicBezTo>
                  <a:pt x="384154" y="1630373"/>
                  <a:pt x="432837" y="1635664"/>
                  <a:pt x="441833" y="1622435"/>
                </a:cubicBezTo>
                <a:cubicBezTo>
                  <a:pt x="450829" y="1609206"/>
                  <a:pt x="443421" y="1579043"/>
                  <a:pt x="432308" y="1565285"/>
                </a:cubicBezTo>
                <a:cubicBezTo>
                  <a:pt x="421195" y="1551527"/>
                  <a:pt x="400029" y="1561581"/>
                  <a:pt x="375158" y="1539885"/>
                </a:cubicBezTo>
                <a:cubicBezTo>
                  <a:pt x="350287" y="1518189"/>
                  <a:pt x="295254" y="1456277"/>
                  <a:pt x="283083" y="1435110"/>
                </a:cubicBezTo>
                <a:cubicBezTo>
                  <a:pt x="270912" y="1413943"/>
                  <a:pt x="297900" y="1422939"/>
                  <a:pt x="302133" y="1412885"/>
                </a:cubicBezTo>
                <a:cubicBezTo>
                  <a:pt x="306366" y="1402831"/>
                  <a:pt x="293666" y="1380606"/>
                  <a:pt x="308483" y="1374785"/>
                </a:cubicBezTo>
                <a:cubicBezTo>
                  <a:pt x="323300" y="1368964"/>
                  <a:pt x="374629" y="1389602"/>
                  <a:pt x="391033" y="1377960"/>
                </a:cubicBezTo>
                <a:cubicBezTo>
                  <a:pt x="407437" y="1366318"/>
                  <a:pt x="394737" y="1314989"/>
                  <a:pt x="406908" y="1304935"/>
                </a:cubicBezTo>
                <a:cubicBezTo>
                  <a:pt x="419079" y="1294881"/>
                  <a:pt x="451887" y="1328218"/>
                  <a:pt x="464058" y="1317635"/>
                </a:cubicBezTo>
                <a:cubicBezTo>
                  <a:pt x="476229" y="1307052"/>
                  <a:pt x="497925" y="1258897"/>
                  <a:pt x="479933" y="1241435"/>
                </a:cubicBezTo>
                <a:cubicBezTo>
                  <a:pt x="461941" y="1223973"/>
                  <a:pt x="386800" y="1225560"/>
                  <a:pt x="356108" y="1212860"/>
                </a:cubicBezTo>
                <a:cubicBezTo>
                  <a:pt x="325416" y="1200160"/>
                  <a:pt x="309541" y="1173173"/>
                  <a:pt x="295783" y="1165235"/>
                </a:cubicBezTo>
                <a:cubicBezTo>
                  <a:pt x="282025" y="1157298"/>
                  <a:pt x="284141" y="1162060"/>
                  <a:pt x="273558" y="1165235"/>
                </a:cubicBezTo>
                <a:cubicBezTo>
                  <a:pt x="262975" y="1168410"/>
                  <a:pt x="247629" y="1188518"/>
                  <a:pt x="232283" y="1184285"/>
                </a:cubicBezTo>
                <a:cubicBezTo>
                  <a:pt x="216937" y="1180052"/>
                  <a:pt x="200533" y="1153593"/>
                  <a:pt x="181483" y="1139835"/>
                </a:cubicBezTo>
                <a:cubicBezTo>
                  <a:pt x="162433" y="1126077"/>
                  <a:pt x="129095" y="1113377"/>
                  <a:pt x="117983" y="1101735"/>
                </a:cubicBezTo>
                <a:cubicBezTo>
                  <a:pt x="106870" y="1090093"/>
                  <a:pt x="121687" y="1081097"/>
                  <a:pt x="114808" y="1069985"/>
                </a:cubicBezTo>
                <a:cubicBezTo>
                  <a:pt x="107929" y="1058873"/>
                  <a:pt x="87291" y="1044585"/>
                  <a:pt x="76708" y="1035060"/>
                </a:cubicBezTo>
                <a:cubicBezTo>
                  <a:pt x="66125" y="1025535"/>
                  <a:pt x="60304" y="1022360"/>
                  <a:pt x="51308" y="1012835"/>
                </a:cubicBezTo>
                <a:cubicBezTo>
                  <a:pt x="42312" y="1003310"/>
                  <a:pt x="31200" y="991139"/>
                  <a:pt x="22733" y="977910"/>
                </a:cubicBezTo>
                <a:cubicBezTo>
                  <a:pt x="14266" y="964681"/>
                  <a:pt x="-3196" y="942985"/>
                  <a:pt x="508" y="933460"/>
                </a:cubicBezTo>
                <a:cubicBezTo>
                  <a:pt x="4212" y="923935"/>
                  <a:pt x="44429" y="934518"/>
                  <a:pt x="44958" y="920760"/>
                </a:cubicBezTo>
                <a:cubicBezTo>
                  <a:pt x="45487" y="907002"/>
                  <a:pt x="8445" y="872077"/>
                  <a:pt x="3683" y="850910"/>
                </a:cubicBezTo>
                <a:cubicBezTo>
                  <a:pt x="-1079" y="829743"/>
                  <a:pt x="-2138" y="803285"/>
                  <a:pt x="16383" y="793760"/>
                </a:cubicBezTo>
                <a:cubicBezTo>
                  <a:pt x="34904" y="784235"/>
                  <a:pt x="83587" y="791643"/>
                  <a:pt x="114808" y="793760"/>
                </a:cubicBezTo>
                <a:cubicBezTo>
                  <a:pt x="146029" y="795877"/>
                  <a:pt x="191008" y="816514"/>
                  <a:pt x="203708" y="806460"/>
                </a:cubicBezTo>
                <a:cubicBezTo>
                  <a:pt x="216408" y="796406"/>
                  <a:pt x="190479" y="761481"/>
                  <a:pt x="191008" y="733435"/>
                </a:cubicBezTo>
                <a:cubicBezTo>
                  <a:pt x="191537" y="705389"/>
                  <a:pt x="210587" y="658293"/>
                  <a:pt x="206883" y="638185"/>
                </a:cubicBezTo>
                <a:cubicBezTo>
                  <a:pt x="203179" y="618077"/>
                  <a:pt x="179895" y="619664"/>
                  <a:pt x="168783" y="612785"/>
                </a:cubicBezTo>
                <a:cubicBezTo>
                  <a:pt x="157671" y="605906"/>
                  <a:pt x="146558" y="625485"/>
                  <a:pt x="140208" y="596910"/>
                </a:cubicBezTo>
                <a:cubicBezTo>
                  <a:pt x="133858" y="568335"/>
                  <a:pt x="126450" y="469381"/>
                  <a:pt x="130683" y="441335"/>
                </a:cubicBezTo>
                <a:cubicBezTo>
                  <a:pt x="134916" y="413289"/>
                  <a:pt x="162433" y="433397"/>
                  <a:pt x="165608" y="428635"/>
                </a:cubicBezTo>
                <a:cubicBezTo>
                  <a:pt x="168783" y="423873"/>
                  <a:pt x="166666" y="414877"/>
                  <a:pt x="149733" y="412760"/>
                </a:cubicBezTo>
                <a:cubicBezTo>
                  <a:pt x="132800" y="410643"/>
                  <a:pt x="84116" y="442922"/>
                  <a:pt x="64008" y="415935"/>
                </a:cubicBezTo>
                <a:cubicBezTo>
                  <a:pt x="43900" y="388947"/>
                  <a:pt x="17441" y="278881"/>
                  <a:pt x="29083" y="250835"/>
                </a:cubicBezTo>
                <a:cubicBezTo>
                  <a:pt x="40725" y="222789"/>
                  <a:pt x="101579" y="248189"/>
                  <a:pt x="133858" y="247660"/>
                </a:cubicBezTo>
                <a:cubicBezTo>
                  <a:pt x="166137" y="247131"/>
                  <a:pt x="202650" y="256127"/>
                  <a:pt x="222758" y="247660"/>
                </a:cubicBezTo>
                <a:cubicBezTo>
                  <a:pt x="242866" y="239193"/>
                  <a:pt x="240220" y="205327"/>
                  <a:pt x="254508" y="196860"/>
                </a:cubicBezTo>
                <a:cubicBezTo>
                  <a:pt x="268796" y="188393"/>
                  <a:pt x="291550" y="206914"/>
                  <a:pt x="308483" y="196860"/>
                </a:cubicBezTo>
                <a:cubicBezTo>
                  <a:pt x="325416" y="186806"/>
                  <a:pt x="339704" y="148706"/>
                  <a:pt x="356108" y="136535"/>
                </a:cubicBezTo>
                <a:cubicBezTo>
                  <a:pt x="372512" y="124364"/>
                  <a:pt x="399500" y="136006"/>
                  <a:pt x="406908" y="123835"/>
                </a:cubicBezTo>
                <a:cubicBezTo>
                  <a:pt x="414316" y="111664"/>
                  <a:pt x="396325" y="74093"/>
                  <a:pt x="400558" y="63510"/>
                </a:cubicBezTo>
                <a:cubicBezTo>
                  <a:pt x="404791" y="52927"/>
                  <a:pt x="429133" y="66156"/>
                  <a:pt x="432308" y="60335"/>
                </a:cubicBezTo>
                <a:cubicBezTo>
                  <a:pt x="435483" y="54514"/>
                  <a:pt x="413787" y="38639"/>
                  <a:pt x="419608" y="28585"/>
                </a:cubicBezTo>
                <a:cubicBezTo>
                  <a:pt x="425429" y="18531"/>
                  <a:pt x="451358" y="-519"/>
                  <a:pt x="467233" y="10"/>
                </a:cubicBezTo>
                <a:cubicBezTo>
                  <a:pt x="483108" y="539"/>
                  <a:pt x="495279" y="29114"/>
                  <a:pt x="514858" y="31760"/>
                </a:cubicBezTo>
                <a:cubicBezTo>
                  <a:pt x="534437" y="34406"/>
                  <a:pt x="573066" y="12181"/>
                  <a:pt x="584708" y="15885"/>
                </a:cubicBezTo>
                <a:cubicBezTo>
                  <a:pt x="596350" y="19589"/>
                  <a:pt x="559837" y="35464"/>
                  <a:pt x="584708" y="53985"/>
                </a:cubicBezTo>
                <a:cubicBezTo>
                  <a:pt x="609579" y="72506"/>
                  <a:pt x="690541" y="119602"/>
                  <a:pt x="733933" y="127010"/>
                </a:cubicBezTo>
                <a:cubicBezTo>
                  <a:pt x="777325" y="134418"/>
                  <a:pt x="821775" y="105314"/>
                  <a:pt x="845058" y="98435"/>
                </a:cubicBezTo>
                <a:cubicBezTo>
                  <a:pt x="868341" y="91556"/>
                  <a:pt x="857229" y="90498"/>
                  <a:pt x="873633" y="85735"/>
                </a:cubicBezTo>
                <a:cubicBezTo>
                  <a:pt x="890037" y="80972"/>
                  <a:pt x="921258" y="62981"/>
                  <a:pt x="943483" y="69860"/>
                </a:cubicBezTo>
                <a:cubicBezTo>
                  <a:pt x="965708" y="76739"/>
                  <a:pt x="993754" y="78327"/>
                  <a:pt x="1006983" y="127010"/>
                </a:cubicBezTo>
                <a:cubicBezTo>
                  <a:pt x="1020212" y="175693"/>
                  <a:pt x="1022858" y="361960"/>
                  <a:pt x="1022858" y="361960"/>
                </a:cubicBezTo>
                <a:lnTo>
                  <a:pt x="1022858" y="361960"/>
                </a:lnTo>
                <a:cubicBezTo>
                  <a:pt x="1025504" y="371485"/>
                  <a:pt x="1017037" y="405352"/>
                  <a:pt x="1038733" y="419110"/>
                </a:cubicBezTo>
                <a:cubicBezTo>
                  <a:pt x="1060429" y="432868"/>
                  <a:pt x="1128691" y="435514"/>
                  <a:pt x="1153033" y="444510"/>
                </a:cubicBezTo>
                <a:cubicBezTo>
                  <a:pt x="1177375" y="453506"/>
                  <a:pt x="1189016" y="459327"/>
                  <a:pt x="1184783" y="473085"/>
                </a:cubicBezTo>
                <a:cubicBezTo>
                  <a:pt x="1180550" y="486843"/>
                  <a:pt x="1113346" y="514889"/>
                  <a:pt x="1127633" y="527060"/>
                </a:cubicBezTo>
                <a:cubicBezTo>
                  <a:pt x="1141920" y="539231"/>
                  <a:pt x="1235054" y="526531"/>
                  <a:pt x="1270508" y="546110"/>
                </a:cubicBezTo>
                <a:cubicBezTo>
                  <a:pt x="1305962" y="565689"/>
                  <a:pt x="1312841" y="627072"/>
                  <a:pt x="1340358" y="644535"/>
                </a:cubicBezTo>
                <a:cubicBezTo>
                  <a:pt x="1367875" y="661997"/>
                  <a:pt x="1421321" y="638714"/>
                  <a:pt x="1435608" y="650885"/>
                </a:cubicBezTo>
                <a:cubicBezTo>
                  <a:pt x="1449895" y="663056"/>
                  <a:pt x="1405975" y="704331"/>
                  <a:pt x="1426083" y="717560"/>
                </a:cubicBezTo>
                <a:cubicBezTo>
                  <a:pt x="1446191" y="730789"/>
                  <a:pt x="1527154" y="718089"/>
                  <a:pt x="1556258" y="730260"/>
                </a:cubicBezTo>
                <a:cubicBezTo>
                  <a:pt x="1585362" y="742431"/>
                  <a:pt x="1606000" y="812810"/>
                  <a:pt x="1591183" y="831860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51" name="TextBox 50"/>
          <p:cNvSpPr txBox="1"/>
          <p:nvPr/>
        </p:nvSpPr>
        <p:spPr>
          <a:xfrm>
            <a:off x="8909794" y="3174490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Донецьк</a:t>
            </a:r>
            <a:endParaRPr lang="uk-UA" sz="1236" b="1" dirty="0"/>
          </a:p>
        </p:txBody>
      </p:sp>
      <p:sp>
        <p:nvSpPr>
          <p:cNvPr id="52" name="Полілінія 51"/>
          <p:cNvSpPr/>
          <p:nvPr/>
        </p:nvSpPr>
        <p:spPr>
          <a:xfrm>
            <a:off x="9253927" y="2091901"/>
            <a:ext cx="1132427" cy="1285113"/>
          </a:xfrm>
          <a:custGeom>
            <a:avLst/>
            <a:gdLst>
              <a:gd name="connsiteX0" fmla="*/ 45593 w 1466213"/>
              <a:gd name="connsiteY0" fmla="*/ 152525 h 1663904"/>
              <a:gd name="connsiteX1" fmla="*/ 121793 w 1466213"/>
              <a:gd name="connsiteY1" fmla="*/ 136650 h 1663904"/>
              <a:gd name="connsiteX2" fmla="*/ 121793 w 1466213"/>
              <a:gd name="connsiteY2" fmla="*/ 31875 h 1663904"/>
              <a:gd name="connsiteX3" fmla="*/ 194818 w 1466213"/>
              <a:gd name="connsiteY3" fmla="*/ 125 h 1663904"/>
              <a:gd name="connsiteX4" fmla="*/ 248793 w 1466213"/>
              <a:gd name="connsiteY4" fmla="*/ 22350 h 1663904"/>
              <a:gd name="connsiteX5" fmla="*/ 248793 w 1466213"/>
              <a:gd name="connsiteY5" fmla="*/ 60450 h 1663904"/>
              <a:gd name="connsiteX6" fmla="*/ 420243 w 1466213"/>
              <a:gd name="connsiteY6" fmla="*/ 79500 h 1663904"/>
              <a:gd name="connsiteX7" fmla="*/ 509143 w 1466213"/>
              <a:gd name="connsiteY7" fmla="*/ 114425 h 1663904"/>
              <a:gd name="connsiteX8" fmla="*/ 652018 w 1466213"/>
              <a:gd name="connsiteY8" fmla="*/ 162050 h 1663904"/>
              <a:gd name="connsiteX9" fmla="*/ 725043 w 1466213"/>
              <a:gd name="connsiteY9" fmla="*/ 149350 h 1663904"/>
              <a:gd name="connsiteX10" fmla="*/ 734568 w 1466213"/>
              <a:gd name="connsiteY10" fmla="*/ 101725 h 1663904"/>
              <a:gd name="connsiteX11" fmla="*/ 782193 w 1466213"/>
              <a:gd name="connsiteY11" fmla="*/ 114425 h 1663904"/>
              <a:gd name="connsiteX12" fmla="*/ 817118 w 1466213"/>
              <a:gd name="connsiteY12" fmla="*/ 177925 h 1663904"/>
              <a:gd name="connsiteX13" fmla="*/ 877443 w 1466213"/>
              <a:gd name="connsiteY13" fmla="*/ 203325 h 1663904"/>
              <a:gd name="connsiteX14" fmla="*/ 972693 w 1466213"/>
              <a:gd name="connsiteY14" fmla="*/ 196975 h 1663904"/>
              <a:gd name="connsiteX15" fmla="*/ 1023493 w 1466213"/>
              <a:gd name="connsiteY15" fmla="*/ 203325 h 1663904"/>
              <a:gd name="connsiteX16" fmla="*/ 1048893 w 1466213"/>
              <a:gd name="connsiteY16" fmla="*/ 266825 h 1663904"/>
              <a:gd name="connsiteX17" fmla="*/ 1140968 w 1466213"/>
              <a:gd name="connsiteY17" fmla="*/ 304925 h 1663904"/>
              <a:gd name="connsiteX18" fmla="*/ 1201293 w 1466213"/>
              <a:gd name="connsiteY18" fmla="*/ 311275 h 1663904"/>
              <a:gd name="connsiteX19" fmla="*/ 1296543 w 1466213"/>
              <a:gd name="connsiteY19" fmla="*/ 257300 h 1663904"/>
              <a:gd name="connsiteX20" fmla="*/ 1388618 w 1466213"/>
              <a:gd name="connsiteY20" fmla="*/ 257300 h 1663904"/>
              <a:gd name="connsiteX21" fmla="*/ 1328293 w 1466213"/>
              <a:gd name="connsiteY21" fmla="*/ 343025 h 1663904"/>
              <a:gd name="connsiteX22" fmla="*/ 1344168 w 1466213"/>
              <a:gd name="connsiteY22" fmla="*/ 397000 h 1663904"/>
              <a:gd name="connsiteX23" fmla="*/ 1420368 w 1466213"/>
              <a:gd name="connsiteY23" fmla="*/ 457325 h 1663904"/>
              <a:gd name="connsiteX24" fmla="*/ 1417193 w 1466213"/>
              <a:gd name="connsiteY24" fmla="*/ 571625 h 1663904"/>
              <a:gd name="connsiteX25" fmla="*/ 1293368 w 1466213"/>
              <a:gd name="connsiteY25" fmla="*/ 670050 h 1663904"/>
              <a:gd name="connsiteX26" fmla="*/ 1156843 w 1466213"/>
              <a:gd name="connsiteY26" fmla="*/ 752600 h 1663904"/>
              <a:gd name="connsiteX27" fmla="*/ 1182243 w 1466213"/>
              <a:gd name="connsiteY27" fmla="*/ 800225 h 1663904"/>
              <a:gd name="connsiteX28" fmla="*/ 1331468 w 1466213"/>
              <a:gd name="connsiteY28" fmla="*/ 812925 h 1663904"/>
              <a:gd name="connsiteX29" fmla="*/ 1452118 w 1466213"/>
              <a:gd name="connsiteY29" fmla="*/ 812925 h 1663904"/>
              <a:gd name="connsiteX30" fmla="*/ 1455293 w 1466213"/>
              <a:gd name="connsiteY30" fmla="*/ 851025 h 1663904"/>
              <a:gd name="connsiteX31" fmla="*/ 1375918 w 1466213"/>
              <a:gd name="connsiteY31" fmla="*/ 863725 h 1663904"/>
              <a:gd name="connsiteX32" fmla="*/ 1350518 w 1466213"/>
              <a:gd name="connsiteY32" fmla="*/ 885950 h 1663904"/>
              <a:gd name="connsiteX33" fmla="*/ 1223518 w 1466213"/>
              <a:gd name="connsiteY33" fmla="*/ 908175 h 1663904"/>
              <a:gd name="connsiteX34" fmla="*/ 1201293 w 1466213"/>
              <a:gd name="connsiteY34" fmla="*/ 1047875 h 1663904"/>
              <a:gd name="connsiteX35" fmla="*/ 1306068 w 1466213"/>
              <a:gd name="connsiteY35" fmla="*/ 1063750 h 1663904"/>
              <a:gd name="connsiteX36" fmla="*/ 1353693 w 1466213"/>
              <a:gd name="connsiteY36" fmla="*/ 1133600 h 1663904"/>
              <a:gd name="connsiteX37" fmla="*/ 1388618 w 1466213"/>
              <a:gd name="connsiteY37" fmla="*/ 1178050 h 1663904"/>
              <a:gd name="connsiteX38" fmla="*/ 1385443 w 1466213"/>
              <a:gd name="connsiteY38" fmla="*/ 1225675 h 1663904"/>
              <a:gd name="connsiteX39" fmla="*/ 1350518 w 1466213"/>
              <a:gd name="connsiteY39" fmla="*/ 1273300 h 1663904"/>
              <a:gd name="connsiteX40" fmla="*/ 1464818 w 1466213"/>
              <a:gd name="connsiteY40" fmla="*/ 1276475 h 1663904"/>
              <a:gd name="connsiteX41" fmla="*/ 1372743 w 1466213"/>
              <a:gd name="connsiteY41" fmla="*/ 1409825 h 1663904"/>
              <a:gd name="connsiteX42" fmla="*/ 1372743 w 1466213"/>
              <a:gd name="connsiteY42" fmla="*/ 1460625 h 1663904"/>
              <a:gd name="connsiteX43" fmla="*/ 1347343 w 1466213"/>
              <a:gd name="connsiteY43" fmla="*/ 1466975 h 1663904"/>
              <a:gd name="connsiteX44" fmla="*/ 1382268 w 1466213"/>
              <a:gd name="connsiteY44" fmla="*/ 1549525 h 1663904"/>
              <a:gd name="connsiteX45" fmla="*/ 1366393 w 1466213"/>
              <a:gd name="connsiteY45" fmla="*/ 1622550 h 1663904"/>
              <a:gd name="connsiteX46" fmla="*/ 1188593 w 1466213"/>
              <a:gd name="connsiteY46" fmla="*/ 1644775 h 1663904"/>
              <a:gd name="connsiteX47" fmla="*/ 1166368 w 1466213"/>
              <a:gd name="connsiteY47" fmla="*/ 1660650 h 1663904"/>
              <a:gd name="connsiteX48" fmla="*/ 1071118 w 1466213"/>
              <a:gd name="connsiteY48" fmla="*/ 1628900 h 1663904"/>
              <a:gd name="connsiteX49" fmla="*/ 956818 w 1466213"/>
              <a:gd name="connsiteY49" fmla="*/ 1663825 h 1663904"/>
              <a:gd name="connsiteX50" fmla="*/ 880618 w 1466213"/>
              <a:gd name="connsiteY50" fmla="*/ 1635250 h 1663904"/>
              <a:gd name="connsiteX51" fmla="*/ 871093 w 1466213"/>
              <a:gd name="connsiteY51" fmla="*/ 1543175 h 1663904"/>
              <a:gd name="connsiteX52" fmla="*/ 725043 w 1466213"/>
              <a:gd name="connsiteY52" fmla="*/ 1533650 h 1663904"/>
              <a:gd name="connsiteX53" fmla="*/ 728218 w 1466213"/>
              <a:gd name="connsiteY53" fmla="*/ 1466975 h 1663904"/>
              <a:gd name="connsiteX54" fmla="*/ 620268 w 1466213"/>
              <a:gd name="connsiteY54" fmla="*/ 1451100 h 1663904"/>
              <a:gd name="connsiteX55" fmla="*/ 563118 w 1466213"/>
              <a:gd name="connsiteY55" fmla="*/ 1355850 h 1663904"/>
              <a:gd name="connsiteX56" fmla="*/ 445643 w 1466213"/>
              <a:gd name="connsiteY56" fmla="*/ 1355850 h 1663904"/>
              <a:gd name="connsiteX57" fmla="*/ 451993 w 1466213"/>
              <a:gd name="connsiteY57" fmla="*/ 1320925 h 1663904"/>
              <a:gd name="connsiteX58" fmla="*/ 477393 w 1466213"/>
              <a:gd name="connsiteY58" fmla="*/ 1286000 h 1663904"/>
              <a:gd name="connsiteX59" fmla="*/ 398018 w 1466213"/>
              <a:gd name="connsiteY59" fmla="*/ 1235200 h 1663904"/>
              <a:gd name="connsiteX60" fmla="*/ 353568 w 1466213"/>
              <a:gd name="connsiteY60" fmla="*/ 1222500 h 1663904"/>
              <a:gd name="connsiteX61" fmla="*/ 328168 w 1466213"/>
              <a:gd name="connsiteY61" fmla="*/ 1200275 h 1663904"/>
              <a:gd name="connsiteX62" fmla="*/ 309118 w 1466213"/>
              <a:gd name="connsiteY62" fmla="*/ 1035175 h 1663904"/>
              <a:gd name="connsiteX63" fmla="*/ 309118 w 1466213"/>
              <a:gd name="connsiteY63" fmla="*/ 958975 h 1663904"/>
              <a:gd name="connsiteX64" fmla="*/ 258318 w 1466213"/>
              <a:gd name="connsiteY64" fmla="*/ 905000 h 1663904"/>
              <a:gd name="connsiteX65" fmla="*/ 213868 w 1466213"/>
              <a:gd name="connsiteY65" fmla="*/ 885950 h 1663904"/>
              <a:gd name="connsiteX66" fmla="*/ 134493 w 1466213"/>
              <a:gd name="connsiteY66" fmla="*/ 885950 h 1663904"/>
              <a:gd name="connsiteX67" fmla="*/ 144018 w 1466213"/>
              <a:gd name="connsiteY67" fmla="*/ 831975 h 1663904"/>
              <a:gd name="connsiteX68" fmla="*/ 166243 w 1466213"/>
              <a:gd name="connsiteY68" fmla="*/ 774825 h 1663904"/>
              <a:gd name="connsiteX69" fmla="*/ 13843 w 1466213"/>
              <a:gd name="connsiteY69" fmla="*/ 587500 h 1663904"/>
              <a:gd name="connsiteX70" fmla="*/ 10668 w 1466213"/>
              <a:gd name="connsiteY70" fmla="*/ 558925 h 1663904"/>
              <a:gd name="connsiteX71" fmla="*/ 45593 w 1466213"/>
              <a:gd name="connsiteY71" fmla="*/ 419225 h 1663904"/>
              <a:gd name="connsiteX72" fmla="*/ 45593 w 1466213"/>
              <a:gd name="connsiteY72" fmla="*/ 327150 h 1663904"/>
              <a:gd name="connsiteX73" fmla="*/ 26543 w 1466213"/>
              <a:gd name="connsiteY73" fmla="*/ 301750 h 1663904"/>
              <a:gd name="connsiteX74" fmla="*/ 45593 w 1466213"/>
              <a:gd name="connsiteY74" fmla="*/ 152525 h 166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466213" h="1663904">
                <a:moveTo>
                  <a:pt x="45593" y="152525"/>
                </a:moveTo>
                <a:cubicBezTo>
                  <a:pt x="61468" y="125008"/>
                  <a:pt x="109093" y="156758"/>
                  <a:pt x="121793" y="136650"/>
                </a:cubicBezTo>
                <a:cubicBezTo>
                  <a:pt x="134493" y="116542"/>
                  <a:pt x="109622" y="54629"/>
                  <a:pt x="121793" y="31875"/>
                </a:cubicBezTo>
                <a:cubicBezTo>
                  <a:pt x="133964" y="9121"/>
                  <a:pt x="173651" y="1712"/>
                  <a:pt x="194818" y="125"/>
                </a:cubicBezTo>
                <a:cubicBezTo>
                  <a:pt x="215985" y="-1462"/>
                  <a:pt x="239797" y="12296"/>
                  <a:pt x="248793" y="22350"/>
                </a:cubicBezTo>
                <a:cubicBezTo>
                  <a:pt x="257789" y="32404"/>
                  <a:pt x="220218" y="50925"/>
                  <a:pt x="248793" y="60450"/>
                </a:cubicBezTo>
                <a:cubicBezTo>
                  <a:pt x="277368" y="69975"/>
                  <a:pt x="376851" y="70504"/>
                  <a:pt x="420243" y="79500"/>
                </a:cubicBezTo>
                <a:cubicBezTo>
                  <a:pt x="463635" y="88496"/>
                  <a:pt x="470514" y="100667"/>
                  <a:pt x="509143" y="114425"/>
                </a:cubicBezTo>
                <a:cubicBezTo>
                  <a:pt x="547772" y="128183"/>
                  <a:pt x="616035" y="156229"/>
                  <a:pt x="652018" y="162050"/>
                </a:cubicBezTo>
                <a:cubicBezTo>
                  <a:pt x="688001" y="167871"/>
                  <a:pt x="711285" y="159404"/>
                  <a:pt x="725043" y="149350"/>
                </a:cubicBezTo>
                <a:cubicBezTo>
                  <a:pt x="738801" y="139296"/>
                  <a:pt x="725043" y="107546"/>
                  <a:pt x="734568" y="101725"/>
                </a:cubicBezTo>
                <a:cubicBezTo>
                  <a:pt x="744093" y="95904"/>
                  <a:pt x="768435" y="101725"/>
                  <a:pt x="782193" y="114425"/>
                </a:cubicBezTo>
                <a:cubicBezTo>
                  <a:pt x="795951" y="127125"/>
                  <a:pt x="801243" y="163108"/>
                  <a:pt x="817118" y="177925"/>
                </a:cubicBezTo>
                <a:cubicBezTo>
                  <a:pt x="832993" y="192742"/>
                  <a:pt x="851514" y="200150"/>
                  <a:pt x="877443" y="203325"/>
                </a:cubicBezTo>
                <a:cubicBezTo>
                  <a:pt x="903372" y="206500"/>
                  <a:pt x="948351" y="196975"/>
                  <a:pt x="972693" y="196975"/>
                </a:cubicBezTo>
                <a:cubicBezTo>
                  <a:pt x="997035" y="196975"/>
                  <a:pt x="1010793" y="191683"/>
                  <a:pt x="1023493" y="203325"/>
                </a:cubicBezTo>
                <a:cubicBezTo>
                  <a:pt x="1036193" y="214967"/>
                  <a:pt x="1029314" y="249892"/>
                  <a:pt x="1048893" y="266825"/>
                </a:cubicBezTo>
                <a:cubicBezTo>
                  <a:pt x="1068472" y="283758"/>
                  <a:pt x="1115568" y="297517"/>
                  <a:pt x="1140968" y="304925"/>
                </a:cubicBezTo>
                <a:cubicBezTo>
                  <a:pt x="1166368" y="312333"/>
                  <a:pt x="1175364" y="319212"/>
                  <a:pt x="1201293" y="311275"/>
                </a:cubicBezTo>
                <a:cubicBezTo>
                  <a:pt x="1227222" y="303338"/>
                  <a:pt x="1265322" y="266296"/>
                  <a:pt x="1296543" y="257300"/>
                </a:cubicBezTo>
                <a:cubicBezTo>
                  <a:pt x="1327764" y="248304"/>
                  <a:pt x="1383326" y="243013"/>
                  <a:pt x="1388618" y="257300"/>
                </a:cubicBezTo>
                <a:cubicBezTo>
                  <a:pt x="1393910" y="271587"/>
                  <a:pt x="1335701" y="319742"/>
                  <a:pt x="1328293" y="343025"/>
                </a:cubicBezTo>
                <a:cubicBezTo>
                  <a:pt x="1320885" y="366308"/>
                  <a:pt x="1328822" y="377950"/>
                  <a:pt x="1344168" y="397000"/>
                </a:cubicBezTo>
                <a:cubicBezTo>
                  <a:pt x="1359514" y="416050"/>
                  <a:pt x="1408197" y="428221"/>
                  <a:pt x="1420368" y="457325"/>
                </a:cubicBezTo>
                <a:cubicBezTo>
                  <a:pt x="1432539" y="486429"/>
                  <a:pt x="1438360" y="536171"/>
                  <a:pt x="1417193" y="571625"/>
                </a:cubicBezTo>
                <a:cubicBezTo>
                  <a:pt x="1396026" y="607079"/>
                  <a:pt x="1336760" y="639888"/>
                  <a:pt x="1293368" y="670050"/>
                </a:cubicBezTo>
                <a:cubicBezTo>
                  <a:pt x="1249976" y="700212"/>
                  <a:pt x="1175364" y="730904"/>
                  <a:pt x="1156843" y="752600"/>
                </a:cubicBezTo>
                <a:cubicBezTo>
                  <a:pt x="1138322" y="774296"/>
                  <a:pt x="1153139" y="790171"/>
                  <a:pt x="1182243" y="800225"/>
                </a:cubicBezTo>
                <a:cubicBezTo>
                  <a:pt x="1211347" y="810279"/>
                  <a:pt x="1286489" y="810808"/>
                  <a:pt x="1331468" y="812925"/>
                </a:cubicBezTo>
                <a:cubicBezTo>
                  <a:pt x="1376447" y="815042"/>
                  <a:pt x="1431481" y="806575"/>
                  <a:pt x="1452118" y="812925"/>
                </a:cubicBezTo>
                <a:cubicBezTo>
                  <a:pt x="1472755" y="819275"/>
                  <a:pt x="1467993" y="842558"/>
                  <a:pt x="1455293" y="851025"/>
                </a:cubicBezTo>
                <a:cubicBezTo>
                  <a:pt x="1442593" y="859492"/>
                  <a:pt x="1393380" y="857904"/>
                  <a:pt x="1375918" y="863725"/>
                </a:cubicBezTo>
                <a:cubicBezTo>
                  <a:pt x="1358456" y="869546"/>
                  <a:pt x="1375918" y="878542"/>
                  <a:pt x="1350518" y="885950"/>
                </a:cubicBezTo>
                <a:cubicBezTo>
                  <a:pt x="1325118" y="893358"/>
                  <a:pt x="1248389" y="881188"/>
                  <a:pt x="1223518" y="908175"/>
                </a:cubicBezTo>
                <a:cubicBezTo>
                  <a:pt x="1198647" y="935162"/>
                  <a:pt x="1187535" y="1021946"/>
                  <a:pt x="1201293" y="1047875"/>
                </a:cubicBezTo>
                <a:cubicBezTo>
                  <a:pt x="1215051" y="1073804"/>
                  <a:pt x="1280668" y="1049463"/>
                  <a:pt x="1306068" y="1063750"/>
                </a:cubicBezTo>
                <a:cubicBezTo>
                  <a:pt x="1331468" y="1078037"/>
                  <a:pt x="1339935" y="1114550"/>
                  <a:pt x="1353693" y="1133600"/>
                </a:cubicBezTo>
                <a:cubicBezTo>
                  <a:pt x="1367451" y="1152650"/>
                  <a:pt x="1383326" y="1162704"/>
                  <a:pt x="1388618" y="1178050"/>
                </a:cubicBezTo>
                <a:cubicBezTo>
                  <a:pt x="1393910" y="1193396"/>
                  <a:pt x="1391793" y="1209800"/>
                  <a:pt x="1385443" y="1225675"/>
                </a:cubicBezTo>
                <a:cubicBezTo>
                  <a:pt x="1379093" y="1241550"/>
                  <a:pt x="1337289" y="1264833"/>
                  <a:pt x="1350518" y="1273300"/>
                </a:cubicBezTo>
                <a:cubicBezTo>
                  <a:pt x="1363747" y="1281767"/>
                  <a:pt x="1461114" y="1253721"/>
                  <a:pt x="1464818" y="1276475"/>
                </a:cubicBezTo>
                <a:cubicBezTo>
                  <a:pt x="1468522" y="1299229"/>
                  <a:pt x="1388089" y="1379133"/>
                  <a:pt x="1372743" y="1409825"/>
                </a:cubicBezTo>
                <a:cubicBezTo>
                  <a:pt x="1357397" y="1440517"/>
                  <a:pt x="1376976" y="1451100"/>
                  <a:pt x="1372743" y="1460625"/>
                </a:cubicBezTo>
                <a:cubicBezTo>
                  <a:pt x="1368510" y="1470150"/>
                  <a:pt x="1345756" y="1452158"/>
                  <a:pt x="1347343" y="1466975"/>
                </a:cubicBezTo>
                <a:cubicBezTo>
                  <a:pt x="1348930" y="1481792"/>
                  <a:pt x="1379093" y="1523596"/>
                  <a:pt x="1382268" y="1549525"/>
                </a:cubicBezTo>
                <a:cubicBezTo>
                  <a:pt x="1385443" y="1575454"/>
                  <a:pt x="1398672" y="1606675"/>
                  <a:pt x="1366393" y="1622550"/>
                </a:cubicBezTo>
                <a:cubicBezTo>
                  <a:pt x="1334114" y="1638425"/>
                  <a:pt x="1221931" y="1638425"/>
                  <a:pt x="1188593" y="1644775"/>
                </a:cubicBezTo>
                <a:cubicBezTo>
                  <a:pt x="1155256" y="1651125"/>
                  <a:pt x="1185947" y="1663296"/>
                  <a:pt x="1166368" y="1660650"/>
                </a:cubicBezTo>
                <a:cubicBezTo>
                  <a:pt x="1146789" y="1658004"/>
                  <a:pt x="1106043" y="1628371"/>
                  <a:pt x="1071118" y="1628900"/>
                </a:cubicBezTo>
                <a:cubicBezTo>
                  <a:pt x="1036193" y="1629429"/>
                  <a:pt x="988568" y="1662767"/>
                  <a:pt x="956818" y="1663825"/>
                </a:cubicBezTo>
                <a:cubicBezTo>
                  <a:pt x="925068" y="1664883"/>
                  <a:pt x="894905" y="1655358"/>
                  <a:pt x="880618" y="1635250"/>
                </a:cubicBezTo>
                <a:cubicBezTo>
                  <a:pt x="866331" y="1615142"/>
                  <a:pt x="897022" y="1560108"/>
                  <a:pt x="871093" y="1543175"/>
                </a:cubicBezTo>
                <a:cubicBezTo>
                  <a:pt x="845164" y="1526242"/>
                  <a:pt x="748856" y="1546350"/>
                  <a:pt x="725043" y="1533650"/>
                </a:cubicBezTo>
                <a:cubicBezTo>
                  <a:pt x="701231" y="1520950"/>
                  <a:pt x="745680" y="1480733"/>
                  <a:pt x="728218" y="1466975"/>
                </a:cubicBezTo>
                <a:cubicBezTo>
                  <a:pt x="710756" y="1453217"/>
                  <a:pt x="647785" y="1469621"/>
                  <a:pt x="620268" y="1451100"/>
                </a:cubicBezTo>
                <a:cubicBezTo>
                  <a:pt x="592751" y="1432579"/>
                  <a:pt x="592222" y="1371725"/>
                  <a:pt x="563118" y="1355850"/>
                </a:cubicBezTo>
                <a:cubicBezTo>
                  <a:pt x="534014" y="1339975"/>
                  <a:pt x="464164" y="1361671"/>
                  <a:pt x="445643" y="1355850"/>
                </a:cubicBezTo>
                <a:cubicBezTo>
                  <a:pt x="427122" y="1350029"/>
                  <a:pt x="446701" y="1332567"/>
                  <a:pt x="451993" y="1320925"/>
                </a:cubicBezTo>
                <a:cubicBezTo>
                  <a:pt x="457285" y="1309283"/>
                  <a:pt x="486389" y="1300287"/>
                  <a:pt x="477393" y="1286000"/>
                </a:cubicBezTo>
                <a:cubicBezTo>
                  <a:pt x="468397" y="1271713"/>
                  <a:pt x="418656" y="1245783"/>
                  <a:pt x="398018" y="1235200"/>
                </a:cubicBezTo>
                <a:cubicBezTo>
                  <a:pt x="377381" y="1224617"/>
                  <a:pt x="365210" y="1228321"/>
                  <a:pt x="353568" y="1222500"/>
                </a:cubicBezTo>
                <a:cubicBezTo>
                  <a:pt x="341926" y="1216679"/>
                  <a:pt x="335576" y="1231496"/>
                  <a:pt x="328168" y="1200275"/>
                </a:cubicBezTo>
                <a:cubicBezTo>
                  <a:pt x="320760" y="1169054"/>
                  <a:pt x="312293" y="1075392"/>
                  <a:pt x="309118" y="1035175"/>
                </a:cubicBezTo>
                <a:cubicBezTo>
                  <a:pt x="305943" y="994958"/>
                  <a:pt x="317585" y="980671"/>
                  <a:pt x="309118" y="958975"/>
                </a:cubicBezTo>
                <a:cubicBezTo>
                  <a:pt x="300651" y="937279"/>
                  <a:pt x="274193" y="917171"/>
                  <a:pt x="258318" y="905000"/>
                </a:cubicBezTo>
                <a:cubicBezTo>
                  <a:pt x="242443" y="892829"/>
                  <a:pt x="234506" y="889125"/>
                  <a:pt x="213868" y="885950"/>
                </a:cubicBezTo>
                <a:cubicBezTo>
                  <a:pt x="193231" y="882775"/>
                  <a:pt x="146135" y="894946"/>
                  <a:pt x="134493" y="885950"/>
                </a:cubicBezTo>
                <a:cubicBezTo>
                  <a:pt x="122851" y="876954"/>
                  <a:pt x="138726" y="850496"/>
                  <a:pt x="144018" y="831975"/>
                </a:cubicBezTo>
                <a:cubicBezTo>
                  <a:pt x="149310" y="813454"/>
                  <a:pt x="187939" y="815571"/>
                  <a:pt x="166243" y="774825"/>
                </a:cubicBezTo>
                <a:cubicBezTo>
                  <a:pt x="144547" y="734079"/>
                  <a:pt x="39772" y="623483"/>
                  <a:pt x="13843" y="587500"/>
                </a:cubicBezTo>
                <a:cubicBezTo>
                  <a:pt x="-12086" y="551517"/>
                  <a:pt x="5376" y="586971"/>
                  <a:pt x="10668" y="558925"/>
                </a:cubicBezTo>
                <a:cubicBezTo>
                  <a:pt x="15960" y="530879"/>
                  <a:pt x="39772" y="457854"/>
                  <a:pt x="45593" y="419225"/>
                </a:cubicBezTo>
                <a:cubicBezTo>
                  <a:pt x="51414" y="380596"/>
                  <a:pt x="48768" y="346729"/>
                  <a:pt x="45593" y="327150"/>
                </a:cubicBezTo>
                <a:cubicBezTo>
                  <a:pt x="42418" y="307571"/>
                  <a:pt x="23368" y="325033"/>
                  <a:pt x="26543" y="301750"/>
                </a:cubicBezTo>
                <a:cubicBezTo>
                  <a:pt x="29718" y="278467"/>
                  <a:pt x="29718" y="180042"/>
                  <a:pt x="45593" y="152525"/>
                </a:cubicBezTo>
                <a:close/>
              </a:path>
            </a:pathLst>
          </a:custGeom>
          <a:solidFill>
            <a:srgbClr val="FF00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45"/>
          </a:p>
        </p:txBody>
      </p:sp>
      <p:sp>
        <p:nvSpPr>
          <p:cNvPr id="53" name="TextBox 52"/>
          <p:cNvSpPr txBox="1"/>
          <p:nvPr/>
        </p:nvSpPr>
        <p:spPr>
          <a:xfrm>
            <a:off x="9379449" y="2531823"/>
            <a:ext cx="1028932" cy="266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81" b="1" dirty="0"/>
              <a:t>Луганськ</a:t>
            </a:r>
            <a:endParaRPr lang="uk-UA" sz="1236" b="1" dirty="0"/>
          </a:p>
        </p:txBody>
      </p:sp>
      <p:sp>
        <p:nvSpPr>
          <p:cNvPr id="54" name="object 5"/>
          <p:cNvSpPr>
            <a:spLocks noChangeAspect="1"/>
          </p:cNvSpPr>
          <p:nvPr/>
        </p:nvSpPr>
        <p:spPr>
          <a:xfrm>
            <a:off x="11019207" y="0"/>
            <a:ext cx="1080120" cy="10393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8479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B.91gMRuKI8SnV9mXXlg"/>
</p:tagLst>
</file>

<file path=ppt/theme/theme1.xml><?xml version="1.0" encoding="utf-8"?>
<a:theme xmlns:a="http://schemas.openxmlformats.org/drawingml/2006/main" name="Краплинка">
  <a:themeElements>
    <a:clrScheme name="Зелено-жовтий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Краплинка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раплинка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5[[fn=Краплинка]]</Template>
  <TotalTime>303</TotalTime>
  <Words>757</Words>
  <Application>Microsoft Office PowerPoint</Application>
  <PresentationFormat>Широкоэкранный</PresentationFormat>
  <Paragraphs>180</Paragraphs>
  <Slides>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Helvetica Light</vt:lpstr>
      <vt:lpstr>Segoe UI</vt:lpstr>
      <vt:lpstr>Trebuchet MS</vt:lpstr>
      <vt:lpstr>Tw Cen MT</vt:lpstr>
      <vt:lpstr>Краплинка</vt:lpstr>
      <vt:lpstr>think-cell Slide</vt:lpstr>
      <vt:lpstr>Поєднання програми «Доступні кредити 5-7-9%»  з державною гарантією</vt:lpstr>
      <vt:lpstr>Презентация PowerPoint</vt:lpstr>
      <vt:lpstr>Презентация PowerPoint</vt:lpstr>
      <vt:lpstr>Презентация PowerPoint</vt:lpstr>
      <vt:lpstr>Поточний розподіл по зонах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Гостіщева Єлизавета Віталіївна</dc:creator>
  <cp:lastModifiedBy>User</cp:lastModifiedBy>
  <cp:revision>143</cp:revision>
  <dcterms:created xsi:type="dcterms:W3CDTF">2022-03-30T08:45:40Z</dcterms:created>
  <dcterms:modified xsi:type="dcterms:W3CDTF">2022-04-02T05:59:08Z</dcterms:modified>
</cp:coreProperties>
</file>